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4291" r:id="rId4"/>
    <p:sldMasterId id="2147484299" r:id="rId5"/>
    <p:sldMasterId id="2147484314" r:id="rId6"/>
  </p:sldMasterIdLst>
  <p:notesMasterIdLst>
    <p:notesMasterId r:id="rId19"/>
  </p:notesMasterIdLst>
  <p:handoutMasterIdLst>
    <p:handoutMasterId r:id="rId20"/>
  </p:handoutMasterIdLst>
  <p:sldIdLst>
    <p:sldId id="444" r:id="rId7"/>
    <p:sldId id="3111" r:id="rId8"/>
    <p:sldId id="3112" r:id="rId9"/>
    <p:sldId id="3113" r:id="rId10"/>
    <p:sldId id="3114" r:id="rId11"/>
    <p:sldId id="3115" r:id="rId12"/>
    <p:sldId id="257" r:id="rId13"/>
    <p:sldId id="3892" r:id="rId14"/>
    <p:sldId id="3894" r:id="rId15"/>
    <p:sldId id="3896" r:id="rId16"/>
    <p:sldId id="3893" r:id="rId17"/>
    <p:sldId id="3062" r:id="rId18"/>
  </p:sldIdLst>
  <p:sldSz cx="12192000" cy="6858000"/>
  <p:notesSz cx="7010400" cy="9296400"/>
  <p:defaultTextStyle>
    <a:defPPr>
      <a:defRPr lang="en-US"/>
    </a:defPPr>
    <a:lvl1pPr algn="ctr" rtl="0" fontAlgn="base">
      <a:spcBef>
        <a:spcPct val="50000"/>
      </a:spcBef>
      <a:spcAft>
        <a:spcPct val="0"/>
      </a:spcAft>
      <a:defRPr b="1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ctr" rtl="0" fontAlgn="base">
      <a:spcBef>
        <a:spcPct val="50000"/>
      </a:spcBef>
      <a:spcAft>
        <a:spcPct val="0"/>
      </a:spcAft>
      <a:defRPr b="1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ctr" rtl="0" fontAlgn="base">
      <a:spcBef>
        <a:spcPct val="50000"/>
      </a:spcBef>
      <a:spcAft>
        <a:spcPct val="0"/>
      </a:spcAft>
      <a:defRPr b="1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ctr" rtl="0" fontAlgn="base">
      <a:spcBef>
        <a:spcPct val="50000"/>
      </a:spcBef>
      <a:spcAft>
        <a:spcPct val="0"/>
      </a:spcAft>
      <a:defRPr b="1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ctr" rtl="0" fontAlgn="base">
      <a:spcBef>
        <a:spcPct val="50000"/>
      </a:spcBef>
      <a:spcAft>
        <a:spcPct val="0"/>
      </a:spcAft>
      <a:defRPr b="1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b="1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b="1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b="1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b="1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220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achel Moscovich" initials="RM" lastIdx="3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4E5C2"/>
    <a:srgbClr val="BF9024"/>
    <a:srgbClr val="FF9933"/>
    <a:srgbClr val="003860"/>
    <a:srgbClr val="27534E"/>
    <a:srgbClr val="0070C0"/>
    <a:srgbClr val="F5FA38"/>
    <a:srgbClr val="D0EAB4"/>
    <a:srgbClr val="ADDB7B"/>
    <a:srgbClr val="E7F4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489" autoAdjust="0"/>
    <p:restoredTop sz="95652" autoAdjust="0"/>
  </p:normalViewPr>
  <p:slideViewPr>
    <p:cSldViewPr snapToGrid="0">
      <p:cViewPr varScale="1">
        <p:scale>
          <a:sx n="105" d="100"/>
          <a:sy n="105" d="100"/>
        </p:scale>
        <p:origin x="1008" y="114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>
        <p:scale>
          <a:sx n="25" d="100"/>
          <a:sy n="25" d="100"/>
        </p:scale>
        <p:origin x="4224" y="1764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3" Type="http://schemas.openxmlformats.org/officeDocument/2006/relationships/customXml" Target="../customXml/item3.xml"/><Relationship Id="rId21" Type="http://schemas.openxmlformats.org/officeDocument/2006/relationships/commentAuthors" Target="commentAuthor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\\srp.gov\home\home6\TLPEREZ\GM%20Staff%20Prep\tlp%20charts%20for%20EV%20goal%20gm%20presentation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tlp charts for EV goal gm presentation.xlsx]Cumulative EVs Pivot !PivotTable3</c:name>
    <c:fmtId val="-1"/>
  </c:pivotSource>
  <c:chart>
    <c:autoTitleDeleted val="1"/>
    <c:pivotFmts>
      <c:pivotFmt>
        <c:idx val="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"/>
        <c:spPr>
          <a:solidFill>
            <a:schemeClr val="accent3">
              <a:lumMod val="60000"/>
              <a:lumOff val="40000"/>
            </a:schemeClr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</c:pivotFmts>
    <c:plotArea>
      <c:layout>
        <c:manualLayout>
          <c:layoutTarget val="inner"/>
          <c:xMode val="edge"/>
          <c:yMode val="edge"/>
          <c:x val="0.12112227425260495"/>
          <c:y val="4.4707007047747521E-2"/>
          <c:w val="0.86606709484370892"/>
          <c:h val="0.78915504778106216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Cumulative EVs Pivot '!$B$1</c:f>
              <c:strCache>
                <c:ptCount val="1"/>
                <c:pt idx="0">
                  <c:v>Baseline Forecast (EPRI Medium Forecast)</c:v>
                </c:pt>
              </c:strCache>
            </c:strRef>
          </c:tx>
          <c:spPr>
            <a:solidFill>
              <a:schemeClr val="bg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'Cumulative EVs Pivot '!$A$2:$A$28</c:f>
              <c:strCache>
                <c:ptCount val="26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  <c:pt idx="14">
                  <c:v>2024</c:v>
                </c:pt>
                <c:pt idx="15">
                  <c:v>2025</c:v>
                </c:pt>
                <c:pt idx="16">
                  <c:v>2026</c:v>
                </c:pt>
                <c:pt idx="17">
                  <c:v>2027</c:v>
                </c:pt>
                <c:pt idx="18">
                  <c:v>2028</c:v>
                </c:pt>
                <c:pt idx="19">
                  <c:v>2029</c:v>
                </c:pt>
                <c:pt idx="20">
                  <c:v>2030</c:v>
                </c:pt>
                <c:pt idx="21">
                  <c:v>2031</c:v>
                </c:pt>
                <c:pt idx="22">
                  <c:v>2032</c:v>
                </c:pt>
                <c:pt idx="23">
                  <c:v>2033</c:v>
                </c:pt>
                <c:pt idx="24">
                  <c:v>2034</c:v>
                </c:pt>
                <c:pt idx="25">
                  <c:v>2035</c:v>
                </c:pt>
              </c:strCache>
            </c:strRef>
          </c:cat>
          <c:val>
            <c:numRef>
              <c:f>'Cumulative EVs Pivot '!$B$2:$B$28</c:f>
              <c:numCache>
                <c:formatCode>General</c:formatCode>
                <c:ptCount val="26"/>
                <c:pt idx="0">
                  <c:v>3</c:v>
                </c:pt>
                <c:pt idx="1">
                  <c:v>190</c:v>
                </c:pt>
                <c:pt idx="2">
                  <c:v>497</c:v>
                </c:pt>
                <c:pt idx="3">
                  <c:v>1117</c:v>
                </c:pt>
                <c:pt idx="4">
                  <c:v>1950</c:v>
                </c:pt>
                <c:pt idx="5">
                  <c:v>2754</c:v>
                </c:pt>
                <c:pt idx="6">
                  <c:v>3802</c:v>
                </c:pt>
                <c:pt idx="7">
                  <c:v>5203</c:v>
                </c:pt>
                <c:pt idx="8">
                  <c:v>8111</c:v>
                </c:pt>
                <c:pt idx="9">
                  <c:v>11085</c:v>
                </c:pt>
                <c:pt idx="10">
                  <c:v>14721</c:v>
                </c:pt>
                <c:pt idx="11">
                  <c:v>20076</c:v>
                </c:pt>
                <c:pt idx="12">
                  <c:v>26531</c:v>
                </c:pt>
                <c:pt idx="13">
                  <c:v>33819</c:v>
                </c:pt>
                <c:pt idx="14">
                  <c:v>41974</c:v>
                </c:pt>
                <c:pt idx="15">
                  <c:v>51419</c:v>
                </c:pt>
                <c:pt idx="16">
                  <c:v>61593</c:v>
                </c:pt>
                <c:pt idx="17">
                  <c:v>72458</c:v>
                </c:pt>
                <c:pt idx="18">
                  <c:v>84165</c:v>
                </c:pt>
                <c:pt idx="19">
                  <c:v>96746</c:v>
                </c:pt>
                <c:pt idx="20">
                  <c:v>110441</c:v>
                </c:pt>
                <c:pt idx="21">
                  <c:v>125183</c:v>
                </c:pt>
                <c:pt idx="22">
                  <c:v>140794</c:v>
                </c:pt>
                <c:pt idx="23">
                  <c:v>157352</c:v>
                </c:pt>
                <c:pt idx="24">
                  <c:v>174879</c:v>
                </c:pt>
                <c:pt idx="25">
                  <c:v>1932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9CC-4B8C-8332-534B3CA1D222}"/>
            </c:ext>
          </c:extLst>
        </c:ser>
        <c:ser>
          <c:idx val="1"/>
          <c:order val="1"/>
          <c:tx>
            <c:strRef>
              <c:f>'Cumulative EVs Pivot '!$C$1</c:f>
              <c:strCache>
                <c:ptCount val="1"/>
                <c:pt idx="0">
                  <c:v>Additional EVs Required (EPRI High Forecast)</c:v>
                </c:pt>
              </c:strCache>
            </c:strRef>
          </c:tx>
          <c:spPr>
            <a:solidFill>
              <a:schemeClr val="bg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'Cumulative EVs Pivot '!$A$2:$A$28</c:f>
              <c:strCache>
                <c:ptCount val="26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  <c:pt idx="14">
                  <c:v>2024</c:v>
                </c:pt>
                <c:pt idx="15">
                  <c:v>2025</c:v>
                </c:pt>
                <c:pt idx="16">
                  <c:v>2026</c:v>
                </c:pt>
                <c:pt idx="17">
                  <c:v>2027</c:v>
                </c:pt>
                <c:pt idx="18">
                  <c:v>2028</c:v>
                </c:pt>
                <c:pt idx="19">
                  <c:v>2029</c:v>
                </c:pt>
                <c:pt idx="20">
                  <c:v>2030</c:v>
                </c:pt>
                <c:pt idx="21">
                  <c:v>2031</c:v>
                </c:pt>
                <c:pt idx="22">
                  <c:v>2032</c:v>
                </c:pt>
                <c:pt idx="23">
                  <c:v>2033</c:v>
                </c:pt>
                <c:pt idx="24">
                  <c:v>2034</c:v>
                </c:pt>
                <c:pt idx="25">
                  <c:v>2035</c:v>
                </c:pt>
              </c:strCache>
            </c:strRef>
          </c:cat>
          <c:val>
            <c:numRef>
              <c:f>'Cumulative EVs Pivot '!$C$2:$C$28</c:f>
              <c:numCache>
                <c:formatCode>General</c:formatCode>
                <c:ptCount val="2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1920</c:v>
                </c:pt>
                <c:pt idx="10">
                  <c:v>4659</c:v>
                </c:pt>
                <c:pt idx="11">
                  <c:v>8136</c:v>
                </c:pt>
                <c:pt idx="12">
                  <c:v>12496</c:v>
                </c:pt>
                <c:pt idx="13">
                  <c:v>18767</c:v>
                </c:pt>
                <c:pt idx="14">
                  <c:v>26851</c:v>
                </c:pt>
                <c:pt idx="15">
                  <c:v>36629</c:v>
                </c:pt>
                <c:pt idx="16">
                  <c:v>49488</c:v>
                </c:pt>
                <c:pt idx="17">
                  <c:v>65717</c:v>
                </c:pt>
                <c:pt idx="18">
                  <c:v>85558</c:v>
                </c:pt>
                <c:pt idx="19">
                  <c:v>109478</c:v>
                </c:pt>
                <c:pt idx="20">
                  <c:v>137979</c:v>
                </c:pt>
                <c:pt idx="21">
                  <c:v>169495</c:v>
                </c:pt>
                <c:pt idx="22">
                  <c:v>203392</c:v>
                </c:pt>
                <c:pt idx="23">
                  <c:v>238254</c:v>
                </c:pt>
                <c:pt idx="24">
                  <c:v>274071</c:v>
                </c:pt>
                <c:pt idx="25">
                  <c:v>3100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9CC-4B8C-8332-534B3CA1D22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100"/>
        <c:axId val="1107916704"/>
        <c:axId val="1107882576"/>
      </c:barChart>
      <c:catAx>
        <c:axId val="11079167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07882576"/>
        <c:crossesAt val="0"/>
        <c:auto val="1"/>
        <c:lblAlgn val="ctr"/>
        <c:lblOffset val="100"/>
        <c:noMultiLvlLbl val="0"/>
      </c:catAx>
      <c:valAx>
        <c:axId val="11078825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07916704"/>
        <c:crosses val="autoZero"/>
        <c:crossBetween val="between"/>
        <c:dispUnits>
          <c:builtInUnit val="thousands"/>
          <c:dispUnitsLbl>
            <c:layout>
              <c:manualLayout>
                <c:xMode val="edge"/>
                <c:yMode val="edge"/>
                <c:x val="5.1661934641830803E-3"/>
                <c:y val="0.18016246308561246"/>
              </c:manualLayout>
            </c:layout>
            <c:tx>
              <c:rich>
                <a:bodyPr rot="-5400000" spcFirstLastPara="1" vertOverflow="ellipsis" vert="horz" wrap="square" anchor="ctr" anchorCtr="1"/>
                <a:lstStyle/>
                <a:p>
                  <a:pPr>
                    <a:defRPr sz="1800" b="0" i="0" u="none" strike="noStrike" kern="1200" baseline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r>
                    <a:rPr lang="en-US" sz="1800" b="1"/>
                    <a:t># of EVs (Thousands)</a:t>
                  </a:r>
                </a:p>
              </c:rich>
            </c:tx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</c:dispUnitsLbl>
        </c:dispUnits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3037840" cy="4648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776" tIns="46389" rIns="92776" bIns="46389" numCol="1" anchor="t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1200" b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638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70938" y="1"/>
            <a:ext cx="3037840" cy="4648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776" tIns="46389" rIns="92776" bIns="46389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1200" b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638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829966"/>
            <a:ext cx="3037840" cy="4648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776" tIns="46389" rIns="92776" bIns="46389" numCol="1" anchor="b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1200" b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638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70938" y="8829966"/>
            <a:ext cx="3037840" cy="4648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776" tIns="46389" rIns="92776" bIns="46389" numCol="1" anchor="b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1200" b="0"/>
            </a:lvl1pPr>
          </a:lstStyle>
          <a:p>
            <a:pPr>
              <a:defRPr/>
            </a:pPr>
            <a:fld id="{22DAACD1-C735-44D6-93D3-DF9B7152408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00471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3037840" cy="4648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776" tIns="46389" rIns="92776" bIns="46389" numCol="1" anchor="t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1200" b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70938" y="1"/>
            <a:ext cx="3037840" cy="4648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776" tIns="46389" rIns="92776" bIns="46389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1200" b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867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07988" y="696913"/>
            <a:ext cx="6197600" cy="34861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01040" y="4415792"/>
            <a:ext cx="5608320" cy="41833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776" tIns="46389" rIns="92776" bIns="4638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829966"/>
            <a:ext cx="3037840" cy="4648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776" tIns="46389" rIns="92776" bIns="46389" numCol="1" anchor="b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1200" b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70938" y="8829966"/>
            <a:ext cx="3037840" cy="4648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776" tIns="46389" rIns="92776" bIns="46389" numCol="1" anchor="b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1200" b="0"/>
            </a:lvl1pPr>
          </a:lstStyle>
          <a:p>
            <a:pPr>
              <a:defRPr/>
            </a:pPr>
            <a:fld id="{37201138-DA97-4D10-8B12-9F5DC6B7BDB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073280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3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07988" y="696913"/>
            <a:ext cx="6197600" cy="3486150"/>
          </a:xfrm>
          <a:ln/>
        </p:spPr>
      </p:sp>
      <p:sp>
        <p:nvSpPr>
          <p:cNvPr id="1873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 pitchFamily="34" charset="0"/>
              <a:ea typeface="ＭＳ Ｐゴシック" pitchFamily="-6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79842055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628650" lvl="1" indent="0">
              <a:buFont typeface="Arial"/>
              <a:buNone/>
            </a:pPr>
            <a:endParaRPr lang="en-US" dirty="0">
              <a:cs typeface="Calibri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.A. Courtrigh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1650D4C-0345-47C5-B5B2-7A068BAF584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491328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914400" lvl="2" indent="0">
              <a:buFont typeface="Arial,Sans-Serif" panose="020B0604020202020204" pitchFamily="34" charset="0"/>
              <a:buNone/>
            </a:pPr>
            <a:endParaRPr lang="en-US" dirty="0">
              <a:cs typeface="Calibri" panose="020F0502020204030204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.A. Courtrigh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1650D4C-0345-47C5-B5B2-7A068BAF584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8249196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cs typeface="Calibri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.A. Courtrigh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1650D4C-0345-47C5-B5B2-7A068BAF584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668208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3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07988" y="696913"/>
            <a:ext cx="6197600" cy="3486150"/>
          </a:xfrm>
          <a:ln/>
        </p:spPr>
      </p:sp>
      <p:sp>
        <p:nvSpPr>
          <p:cNvPr id="1873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 pitchFamily="34" charset="0"/>
              <a:ea typeface="ＭＳ Ｐゴシック" pitchFamily="-6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298962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3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07988" y="696913"/>
            <a:ext cx="6197600" cy="3486150"/>
          </a:xfrm>
          <a:ln/>
        </p:spPr>
      </p:sp>
      <p:sp>
        <p:nvSpPr>
          <p:cNvPr id="1873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 pitchFamily="34" charset="0"/>
              <a:ea typeface="ＭＳ Ｐゴシック" pitchFamily="-6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64054688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3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07988" y="696913"/>
            <a:ext cx="6197600" cy="3486150"/>
          </a:xfrm>
          <a:ln/>
        </p:spPr>
      </p:sp>
      <p:sp>
        <p:nvSpPr>
          <p:cNvPr id="1873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 pitchFamily="34" charset="0"/>
              <a:ea typeface="ＭＳ Ｐゴシック" pitchFamily="-6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6323250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3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07988" y="696913"/>
            <a:ext cx="6197600" cy="3486150"/>
          </a:xfrm>
          <a:ln/>
        </p:spPr>
      </p:sp>
      <p:sp>
        <p:nvSpPr>
          <p:cNvPr id="1873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 pitchFamily="34" charset="0"/>
              <a:ea typeface="ＭＳ Ｐゴシック" pitchFamily="-6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44198483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3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07988" y="696913"/>
            <a:ext cx="6197600" cy="3486150"/>
          </a:xfrm>
          <a:ln/>
        </p:spPr>
      </p:sp>
      <p:sp>
        <p:nvSpPr>
          <p:cNvPr id="1873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 pitchFamily="34" charset="0"/>
              <a:ea typeface="ＭＳ Ｐゴシック" pitchFamily="-6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18428366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/>
              <a:buChar char="•"/>
            </a:pPr>
            <a:endParaRPr lang="en-US" dirty="0">
              <a:cs typeface="Calibri" panose="020F0502020204030204"/>
            </a:endParaRPr>
          </a:p>
          <a:p>
            <a:pPr marL="628650" lvl="1" indent="-171450">
              <a:buFont typeface="Arial"/>
              <a:buChar char="•"/>
            </a:pPr>
            <a:endParaRPr lang="en-US" dirty="0">
              <a:cs typeface="Calibri" panose="020F0502020204030204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3BBF8D2-6408-4345-B01B-D9F7BF54F6C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2252026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57200" lvl="1" indent="0">
              <a:buFont typeface="Arial" panose="020B0604020202020204" pitchFamily="34" charset="0"/>
              <a:buNone/>
            </a:pPr>
            <a:endParaRPr lang="en-US" dirty="0">
              <a:cs typeface="Calibri" panose="020F0502020204030204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.A. Courtrigh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1650D4C-0345-47C5-B5B2-7A068BAF584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0570257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/>
              <a:buChar char="•"/>
            </a:pPr>
            <a:endParaRPr lang="en-US" dirty="0">
              <a:cs typeface="Calibri" panose="020F0502020204030204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.A. Courtrigh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1650D4C-0345-47C5-B5B2-7A068BAF584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914534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FFB6660-9442-4D5B-8FE6-1CB08206012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173673"/>
      </p:ext>
    </p:extLst>
  </p:cSld>
  <p:clrMapOvr>
    <a:masterClrMapping/>
  </p:clrMapOvr>
  <p:transition spd="med">
    <p:zoom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CA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CA"/>
              <a:t>Click to edit Master text styles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4"/>
            <a:r>
              <a:rPr lang="en-CA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CA"/>
              <a:t>Click to edit Master text styles</a:t>
            </a:r>
          </a:p>
        </p:txBody>
      </p:sp>
      <p:sp>
        <p:nvSpPr>
          <p:cNvPr id="5" name="Rectangle 1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F43A547-8FD5-464A-8BFB-9A3D67898453}" type="datetime1">
              <a:rPr lang="en-US"/>
              <a:pPr/>
              <a:t>2/17/2022</a:t>
            </a:fld>
            <a:endParaRPr lang="en-US"/>
          </a:p>
        </p:txBody>
      </p:sp>
      <p:sp>
        <p:nvSpPr>
          <p:cNvPr id="6" name="Rectangle 1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1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AB564E1-F2FE-40E7-8A0E-63489F85EED9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54911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CA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CA"/>
              <a:t>Click to edit Master text styles</a:t>
            </a:r>
          </a:p>
        </p:txBody>
      </p:sp>
      <p:sp>
        <p:nvSpPr>
          <p:cNvPr id="5" name="Rectangle 1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C23C80F-C66D-4CD1-8816-429E3D449670}" type="datetime1">
              <a:rPr lang="en-US"/>
              <a:pPr/>
              <a:t>2/17/2022</a:t>
            </a:fld>
            <a:endParaRPr lang="en-US"/>
          </a:p>
        </p:txBody>
      </p:sp>
      <p:sp>
        <p:nvSpPr>
          <p:cNvPr id="6" name="Rectangle 1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1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7B302F9-B9C2-43BB-BE58-163E711EAC59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695767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CA"/>
              <a:t>Click to edit Master text styles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4"/>
            <a:r>
              <a:rPr lang="en-CA"/>
              <a:t>Fifth level</a:t>
            </a:r>
            <a:endParaRPr lang="en-US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71F4A13-5316-4289-A4E7-B581E7C4737C}" type="datetime1">
              <a:rPr lang="en-US"/>
              <a:pPr/>
              <a:t>2/17/2022</a:t>
            </a:fld>
            <a:endParaRPr lang="en-US"/>
          </a:p>
        </p:txBody>
      </p:sp>
      <p:sp>
        <p:nvSpPr>
          <p:cNvPr id="5" name="Rectangle 1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1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2200A44-B615-434C-BCD3-F8D76F69374A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121965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28600"/>
            <a:ext cx="2743200" cy="5715000"/>
          </a:xfrm>
        </p:spPr>
        <p:txBody>
          <a:bodyPr vert="eaVert"/>
          <a:lstStyle/>
          <a:p>
            <a:r>
              <a:rPr lang="en-CA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28600"/>
            <a:ext cx="8026400" cy="5715000"/>
          </a:xfrm>
        </p:spPr>
        <p:txBody>
          <a:bodyPr vert="eaVert"/>
          <a:lstStyle/>
          <a:p>
            <a:pPr lvl="0"/>
            <a:r>
              <a:rPr lang="en-CA"/>
              <a:t>Click to edit Master text styles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4"/>
            <a:r>
              <a:rPr lang="en-CA"/>
              <a:t>Fifth level</a:t>
            </a:r>
            <a:endParaRPr lang="en-US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BA0BF4B-191C-4D7B-B3E9-B7670435B132}" type="datetime1">
              <a:rPr lang="en-US"/>
              <a:pPr/>
              <a:t>2/17/2022</a:t>
            </a:fld>
            <a:endParaRPr lang="en-US"/>
          </a:p>
        </p:txBody>
      </p:sp>
      <p:sp>
        <p:nvSpPr>
          <p:cNvPr id="5" name="Rectangle 1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1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2668427-F742-4B41-AE81-5FFE2CA30824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004084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 and Content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28600"/>
            <a:ext cx="9652000" cy="1143000"/>
          </a:xfrm>
        </p:spPr>
        <p:txBody>
          <a:bodyPr/>
          <a:lstStyle/>
          <a:p>
            <a:r>
              <a:rPr lang="en-CA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0"/>
            <a:ext cx="10972800" cy="2095500"/>
          </a:xfrm>
        </p:spPr>
        <p:txBody>
          <a:bodyPr/>
          <a:lstStyle/>
          <a:p>
            <a:pPr lvl="0"/>
            <a:r>
              <a:rPr lang="en-CA"/>
              <a:t>Click to edit Master text styles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4"/>
            <a:r>
              <a:rPr lang="en-CA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0" y="3848100"/>
            <a:ext cx="10972800" cy="2095500"/>
          </a:xfrm>
        </p:spPr>
        <p:txBody>
          <a:bodyPr/>
          <a:lstStyle/>
          <a:p>
            <a:pPr lvl="0"/>
            <a:r>
              <a:rPr lang="en-CA"/>
              <a:t>Click to edit Master text styles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4"/>
            <a:r>
              <a:rPr lang="en-CA"/>
              <a:t>Fifth level</a:t>
            </a:r>
            <a:endParaRPr lang="en-US"/>
          </a:p>
        </p:txBody>
      </p:sp>
      <p:sp>
        <p:nvSpPr>
          <p:cNvPr id="5" name="Rectangle 1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DD9718C-A142-4B71-B66E-0A2B67E417FC}" type="datetime1">
              <a:rPr lang="en-US"/>
              <a:pPr/>
              <a:t>2/17/2022</a:t>
            </a:fld>
            <a:endParaRPr lang="en-US"/>
          </a:p>
        </p:txBody>
      </p:sp>
      <p:sp>
        <p:nvSpPr>
          <p:cNvPr id="6" name="Rectangle 1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1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587547D-0BFD-4F69-81D2-9C4831488F9F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232556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CA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CA"/>
              <a:t>Click to edit Master subtitle style</a:t>
            </a:r>
            <a:endParaRPr lang="en-US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126315D-583D-4BE2-A19C-9659E0605901}" type="datetime1">
              <a:rPr lang="en-US"/>
              <a:pPr/>
              <a:t>2/17/2022</a:t>
            </a:fld>
            <a:endParaRPr lang="en-US"/>
          </a:p>
        </p:txBody>
      </p:sp>
      <p:sp>
        <p:nvSpPr>
          <p:cNvPr id="5" name="Rectangle 1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1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41E5248-BFBE-41FD-9793-CD76BC3655A5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391094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presentationheader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1417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9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371600"/>
            <a:ext cx="12192000" cy="76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Box 10"/>
          <p:cNvSpPr txBox="1">
            <a:spLocks noChangeArrowheads="1"/>
          </p:cNvSpPr>
          <p:nvPr userDrawn="1"/>
        </p:nvSpPr>
        <p:spPr bwMode="auto">
          <a:xfrm>
            <a:off x="203200" y="533401"/>
            <a:ext cx="172720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1429" tIns="45714" rIns="91429" bIns="45714">
            <a:spAutoFit/>
          </a:bodyPr>
          <a:lstStyle/>
          <a:p>
            <a:pPr algn="l">
              <a:defRPr/>
            </a:pPr>
            <a:endParaRPr lang="en-US" b="0">
              <a:solidFill>
                <a:srgbClr val="003366"/>
              </a:solidFill>
              <a:ea typeface="ＭＳ Ｐゴシック" pitchFamily="-64" charset="-128"/>
            </a:endParaRPr>
          </a:p>
        </p:txBody>
      </p:sp>
      <p:pic>
        <p:nvPicPr>
          <p:cNvPr id="8" name="Picture 1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7000" y="6172201"/>
            <a:ext cx="170180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11"/>
          <p:cNvSpPr>
            <a:spLocks noChangeArrowheads="1"/>
          </p:cNvSpPr>
          <p:nvPr userDrawn="1"/>
        </p:nvSpPr>
        <p:spPr bwMode="auto">
          <a:xfrm>
            <a:off x="7385052" y="-50800"/>
            <a:ext cx="4703233" cy="574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9" tIns="45714" rIns="91429" bIns="45714" anchor="ctr"/>
          <a:lstStyle/>
          <a:p>
            <a:pPr algn="r">
              <a:spcBef>
                <a:spcPct val="0"/>
              </a:spcBef>
              <a:defRPr/>
            </a:pPr>
            <a:r>
              <a:rPr lang="en-US" b="0">
                <a:solidFill>
                  <a:srgbClr val="FFFFFF"/>
                </a:solidFill>
                <a:latin typeface="Trebuchet MS" charset="0"/>
                <a:ea typeface="ＭＳ Ｐゴシック" charset="-128"/>
                <a:cs typeface="ＭＳ Ｐゴシック" charset="-128"/>
              </a:rPr>
              <a:t>Confidential Draft for Discussion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0" y="609600"/>
            <a:ext cx="10363200" cy="114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1524000" y="1981200"/>
            <a:ext cx="5080000" cy="4191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07200" y="1981200"/>
            <a:ext cx="5080000" cy="4191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5568135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riangle 11">
            <a:extLst>
              <a:ext uri="{FF2B5EF4-FFF2-40B4-BE49-F238E27FC236}">
                <a16:creationId xmlns:a16="http://schemas.microsoft.com/office/drawing/2014/main" id="{E6423799-3F5C-144E-B6BE-4A255683D14D}"/>
              </a:ext>
            </a:extLst>
          </p:cNvPr>
          <p:cNvSpPr/>
          <p:nvPr userDrawn="1"/>
        </p:nvSpPr>
        <p:spPr>
          <a:xfrm rot="10800000">
            <a:off x="2674672" y="5757559"/>
            <a:ext cx="885010" cy="455421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5A17B32-6B05-B744-8D85-A2BD7CF6B818}"/>
              </a:ext>
            </a:extLst>
          </p:cNvPr>
          <p:cNvSpPr/>
          <p:nvPr userDrawn="1"/>
        </p:nvSpPr>
        <p:spPr>
          <a:xfrm>
            <a:off x="611972" y="5757561"/>
            <a:ext cx="2501258" cy="45542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2290176-F41F-ED4C-AE64-F5697BE25F5C}"/>
              </a:ext>
            </a:extLst>
          </p:cNvPr>
          <p:cNvSpPr/>
          <p:nvPr userDrawn="1"/>
        </p:nvSpPr>
        <p:spPr>
          <a:xfrm>
            <a:off x="616120" y="479204"/>
            <a:ext cx="10972800" cy="520279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F69D370-DD1C-5F4A-982F-B0C1BF0E178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612523"/>
            <a:ext cx="12179299" cy="93377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ctr">
              <a:defRPr sz="7200" b="1" spc="-300" baseline="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7029877-76E7-3041-8439-B5F4C442AF3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686806"/>
            <a:ext cx="12192000" cy="4777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200" b="1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EABA2D4E-A3DE-9E47-A5D3-0E09B74BF6D2}"/>
              </a:ext>
            </a:extLst>
          </p:cNvPr>
          <p:cNvSpPr txBox="1">
            <a:spLocks/>
          </p:cNvSpPr>
          <p:nvPr userDrawn="1"/>
        </p:nvSpPr>
        <p:spPr>
          <a:xfrm>
            <a:off x="0" y="6145563"/>
            <a:ext cx="12179299" cy="17640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00000"/>
              </a:lnSpc>
              <a:spcBef>
                <a:spcPts val="0"/>
              </a:spcBef>
              <a:buNone/>
              <a:defRPr/>
            </a:pPr>
            <a:r>
              <a:rPr lang="en-US" sz="8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Salt River Project, 2021. All rights reserved. FOR INTERNAL USE ONLY. DO NOT DISTRIBUTE.</a:t>
            </a:r>
            <a:endParaRPr lang="en-US" sz="800" spc="55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F6C5E76-1D6D-5345-8EC1-866732201F60}"/>
              </a:ext>
            </a:extLst>
          </p:cNvPr>
          <p:cNvSpPr/>
          <p:nvPr userDrawn="1"/>
        </p:nvSpPr>
        <p:spPr>
          <a:xfrm>
            <a:off x="611972" y="5757561"/>
            <a:ext cx="1902628" cy="45542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riangle 10">
            <a:extLst>
              <a:ext uri="{FF2B5EF4-FFF2-40B4-BE49-F238E27FC236}">
                <a16:creationId xmlns:a16="http://schemas.microsoft.com/office/drawing/2014/main" id="{27CCE4A2-DE34-E943-A237-7689B7EE1783}"/>
              </a:ext>
            </a:extLst>
          </p:cNvPr>
          <p:cNvSpPr/>
          <p:nvPr userDrawn="1"/>
        </p:nvSpPr>
        <p:spPr>
          <a:xfrm>
            <a:off x="2363421" y="5757561"/>
            <a:ext cx="311251" cy="455421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6481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3AE11546-B23D-0843-9F96-425A26D531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8715"/>
          <a:stretch/>
        </p:blipFill>
        <p:spPr>
          <a:xfrm>
            <a:off x="624004" y="479202"/>
            <a:ext cx="10951876" cy="5212080"/>
          </a:xfrm>
          <a:prstGeom prst="rect">
            <a:avLst/>
          </a:prstGeom>
        </p:spPr>
      </p:pic>
      <p:sp>
        <p:nvSpPr>
          <p:cNvPr id="12" name="Triangle 11">
            <a:extLst>
              <a:ext uri="{FF2B5EF4-FFF2-40B4-BE49-F238E27FC236}">
                <a16:creationId xmlns:a16="http://schemas.microsoft.com/office/drawing/2014/main" id="{E6423799-3F5C-144E-B6BE-4A255683D14D}"/>
              </a:ext>
            </a:extLst>
          </p:cNvPr>
          <p:cNvSpPr/>
          <p:nvPr userDrawn="1"/>
        </p:nvSpPr>
        <p:spPr>
          <a:xfrm rot="10800000">
            <a:off x="2674672" y="5757559"/>
            <a:ext cx="885010" cy="455421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5A17B32-6B05-B744-8D85-A2BD7CF6B818}"/>
              </a:ext>
            </a:extLst>
          </p:cNvPr>
          <p:cNvSpPr/>
          <p:nvPr userDrawn="1"/>
        </p:nvSpPr>
        <p:spPr>
          <a:xfrm>
            <a:off x="611972" y="5757561"/>
            <a:ext cx="2501258" cy="45542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F69D370-DD1C-5F4A-982F-B0C1BF0E178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612523"/>
            <a:ext cx="12179299" cy="93377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ctr">
              <a:defRPr sz="7200" b="1" spc="-300" baseline="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7029877-76E7-3041-8439-B5F4C442AF3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686806"/>
            <a:ext cx="12192000" cy="4777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2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EABA2D4E-A3DE-9E47-A5D3-0E09B74BF6D2}"/>
              </a:ext>
            </a:extLst>
          </p:cNvPr>
          <p:cNvSpPr txBox="1">
            <a:spLocks/>
          </p:cNvSpPr>
          <p:nvPr userDrawn="1"/>
        </p:nvSpPr>
        <p:spPr>
          <a:xfrm>
            <a:off x="0" y="6145563"/>
            <a:ext cx="12179299" cy="17640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00000"/>
              </a:lnSpc>
              <a:spcBef>
                <a:spcPts val="0"/>
              </a:spcBef>
              <a:buNone/>
              <a:defRPr/>
            </a:pPr>
            <a:r>
              <a:rPr lang="en-US" sz="8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Salt River Project, 2021. All rights reserved. FOR INTERNAL USE ONLY. DO NOT DISTRIBUTE.</a:t>
            </a:r>
            <a:endParaRPr lang="en-US" sz="800" spc="55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F6C5E76-1D6D-5345-8EC1-866732201F60}"/>
              </a:ext>
            </a:extLst>
          </p:cNvPr>
          <p:cNvSpPr/>
          <p:nvPr userDrawn="1"/>
        </p:nvSpPr>
        <p:spPr>
          <a:xfrm>
            <a:off x="611972" y="5757561"/>
            <a:ext cx="1902628" cy="45542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riangle 10">
            <a:extLst>
              <a:ext uri="{FF2B5EF4-FFF2-40B4-BE49-F238E27FC236}">
                <a16:creationId xmlns:a16="http://schemas.microsoft.com/office/drawing/2014/main" id="{27CCE4A2-DE34-E943-A237-7689B7EE1783}"/>
              </a:ext>
            </a:extLst>
          </p:cNvPr>
          <p:cNvSpPr/>
          <p:nvPr userDrawn="1"/>
        </p:nvSpPr>
        <p:spPr>
          <a:xfrm>
            <a:off x="2363421" y="5757561"/>
            <a:ext cx="311251" cy="455421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3017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fety Minu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BB7FF25-4228-794B-82EB-B4330FAF8E05}"/>
              </a:ext>
            </a:extLst>
          </p:cNvPr>
          <p:cNvSpPr/>
          <p:nvPr userDrawn="1"/>
        </p:nvSpPr>
        <p:spPr>
          <a:xfrm>
            <a:off x="616120" y="589761"/>
            <a:ext cx="10972800" cy="561648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159A49E-FF6B-1F40-BE8A-FB33383C0446}"/>
              </a:ext>
            </a:extLst>
          </p:cNvPr>
          <p:cNvSpPr/>
          <p:nvPr userDrawn="1"/>
        </p:nvSpPr>
        <p:spPr>
          <a:xfrm>
            <a:off x="2132331" y="6231742"/>
            <a:ext cx="1283969" cy="12773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4A91B66-D4CE-1040-84B0-C7D626C6E334}"/>
              </a:ext>
            </a:extLst>
          </p:cNvPr>
          <p:cNvSpPr/>
          <p:nvPr userDrawn="1"/>
        </p:nvSpPr>
        <p:spPr>
          <a:xfrm>
            <a:off x="611303" y="6231744"/>
            <a:ext cx="2008071" cy="12773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riangle 10">
            <a:extLst>
              <a:ext uri="{FF2B5EF4-FFF2-40B4-BE49-F238E27FC236}">
                <a16:creationId xmlns:a16="http://schemas.microsoft.com/office/drawing/2014/main" id="{DA7FC83E-3AAE-9340-BD3C-3BE603D95E90}"/>
              </a:ext>
            </a:extLst>
          </p:cNvPr>
          <p:cNvSpPr/>
          <p:nvPr userDrawn="1"/>
        </p:nvSpPr>
        <p:spPr>
          <a:xfrm>
            <a:off x="2572594" y="6231742"/>
            <a:ext cx="92075" cy="127733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riangle 11">
            <a:extLst>
              <a:ext uri="{FF2B5EF4-FFF2-40B4-BE49-F238E27FC236}">
                <a16:creationId xmlns:a16="http://schemas.microsoft.com/office/drawing/2014/main" id="{06292B7C-8F7B-C34E-B08C-982F4E6FF82F}"/>
              </a:ext>
            </a:extLst>
          </p:cNvPr>
          <p:cNvSpPr/>
          <p:nvPr userDrawn="1"/>
        </p:nvSpPr>
        <p:spPr>
          <a:xfrm>
            <a:off x="3104930" y="6231741"/>
            <a:ext cx="251266" cy="127733"/>
          </a:xfrm>
          <a:prstGeom prst="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F89ECE3-0596-5549-8AFC-A0CB40A0F267}"/>
              </a:ext>
            </a:extLst>
          </p:cNvPr>
          <p:cNvSpPr/>
          <p:nvPr userDrawn="1"/>
        </p:nvSpPr>
        <p:spPr>
          <a:xfrm>
            <a:off x="3230563" y="6231740"/>
            <a:ext cx="8350180" cy="12773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98641706-9D34-A64B-ACF3-B3E7080BD988}"/>
              </a:ext>
            </a:extLst>
          </p:cNvPr>
          <p:cNvSpPr txBox="1">
            <a:spLocks/>
          </p:cNvSpPr>
          <p:nvPr userDrawn="1"/>
        </p:nvSpPr>
        <p:spPr>
          <a:xfrm>
            <a:off x="4406487" y="3191157"/>
            <a:ext cx="4936296" cy="158956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0" b="1" i="0" u="none" strike="noStrike" kern="1200" cap="none" spc="-300" normalizeH="0" baseline="0" noProof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inute</a:t>
            </a:r>
            <a:endParaRPr kumimoji="0" lang="en-US" sz="9000" b="1" i="0" u="none" strike="noStrike" kern="1200" cap="none" spc="-150" normalizeH="0" baseline="0" noProof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585F0967-0B25-FA4C-A057-BB2C47B49E76}"/>
              </a:ext>
            </a:extLst>
          </p:cNvPr>
          <p:cNvSpPr txBox="1">
            <a:spLocks/>
          </p:cNvSpPr>
          <p:nvPr userDrawn="1"/>
        </p:nvSpPr>
        <p:spPr>
          <a:xfrm>
            <a:off x="3704844" y="2168683"/>
            <a:ext cx="6443008" cy="146903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0" b="1" i="0" u="none" strike="noStrike" kern="1200" cap="none" spc="-3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afety</a:t>
            </a:r>
            <a:endParaRPr kumimoji="0" lang="en-US" sz="9000" b="1" i="0" u="none" strike="noStrike" kern="1200" cap="none" spc="-15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3507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EE43E4-C9C2-4AEA-82C3-8E38F31FAC64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1284262"/>
      </p:ext>
    </p:extLst>
  </p:cSld>
  <p:clrMapOvr>
    <a:masterClrMapping/>
  </p:clrMapOvr>
  <p:transition spd="med">
    <p:zoom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cognition Minu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B63D291-35D8-0646-B782-526930353F11}"/>
              </a:ext>
            </a:extLst>
          </p:cNvPr>
          <p:cNvSpPr/>
          <p:nvPr userDrawn="1"/>
        </p:nvSpPr>
        <p:spPr>
          <a:xfrm>
            <a:off x="616120" y="589761"/>
            <a:ext cx="10972800" cy="561648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7603793-A7F3-DA42-B408-7E3B4AFDD36C}"/>
              </a:ext>
            </a:extLst>
          </p:cNvPr>
          <p:cNvSpPr/>
          <p:nvPr userDrawn="1"/>
        </p:nvSpPr>
        <p:spPr>
          <a:xfrm>
            <a:off x="2132331" y="6231742"/>
            <a:ext cx="1283969" cy="12773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FD92390-BD3A-3F49-9945-4006EDC5CC34}"/>
              </a:ext>
            </a:extLst>
          </p:cNvPr>
          <p:cNvSpPr/>
          <p:nvPr userDrawn="1"/>
        </p:nvSpPr>
        <p:spPr>
          <a:xfrm>
            <a:off x="611303" y="6231744"/>
            <a:ext cx="2008071" cy="12773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riangle 10">
            <a:extLst>
              <a:ext uri="{FF2B5EF4-FFF2-40B4-BE49-F238E27FC236}">
                <a16:creationId xmlns:a16="http://schemas.microsoft.com/office/drawing/2014/main" id="{F6930A4F-5C90-D140-B439-DE7AAB35B837}"/>
              </a:ext>
            </a:extLst>
          </p:cNvPr>
          <p:cNvSpPr/>
          <p:nvPr userDrawn="1"/>
        </p:nvSpPr>
        <p:spPr>
          <a:xfrm>
            <a:off x="2572594" y="6231742"/>
            <a:ext cx="92075" cy="127733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riangle 11">
            <a:extLst>
              <a:ext uri="{FF2B5EF4-FFF2-40B4-BE49-F238E27FC236}">
                <a16:creationId xmlns:a16="http://schemas.microsoft.com/office/drawing/2014/main" id="{94B2D11A-6BC7-4040-A13D-48FF7C059276}"/>
              </a:ext>
            </a:extLst>
          </p:cNvPr>
          <p:cNvSpPr/>
          <p:nvPr userDrawn="1"/>
        </p:nvSpPr>
        <p:spPr>
          <a:xfrm>
            <a:off x="3104930" y="6231741"/>
            <a:ext cx="251266" cy="127733"/>
          </a:xfrm>
          <a:prstGeom prst="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ADE13BE-FCD4-A24C-9881-089945E58274}"/>
              </a:ext>
            </a:extLst>
          </p:cNvPr>
          <p:cNvSpPr/>
          <p:nvPr userDrawn="1"/>
        </p:nvSpPr>
        <p:spPr>
          <a:xfrm>
            <a:off x="3230563" y="6231740"/>
            <a:ext cx="8350180" cy="12773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92AC71E3-C6A3-8840-8760-7C7C307650F4}"/>
              </a:ext>
            </a:extLst>
          </p:cNvPr>
          <p:cNvSpPr txBox="1">
            <a:spLocks/>
          </p:cNvSpPr>
          <p:nvPr userDrawn="1"/>
        </p:nvSpPr>
        <p:spPr>
          <a:xfrm>
            <a:off x="5719595" y="3202043"/>
            <a:ext cx="4916311" cy="182940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0" b="1" i="0" u="none" strike="noStrike" kern="1200" cap="none" spc="-300" normalizeH="0" baseline="0" noProof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inute</a:t>
            </a:r>
            <a:endParaRPr kumimoji="0" lang="en-US" sz="9000" b="1" i="0" u="none" strike="noStrike" kern="1200" cap="none" spc="-150" normalizeH="0" baseline="0" noProof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28899EA6-2D84-C549-BF21-E6B9C68F444A}"/>
              </a:ext>
            </a:extLst>
          </p:cNvPr>
          <p:cNvSpPr txBox="1">
            <a:spLocks/>
          </p:cNvSpPr>
          <p:nvPr userDrawn="1"/>
        </p:nvSpPr>
        <p:spPr>
          <a:xfrm>
            <a:off x="2490554" y="2179570"/>
            <a:ext cx="9234378" cy="204494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0" b="1" i="0" u="none" strike="noStrike" kern="1200" cap="none" spc="-3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cognition</a:t>
            </a:r>
            <a:endParaRPr kumimoji="0" lang="en-US" sz="9000" b="1" i="0" u="none" strike="noStrike" kern="1200" cap="none" spc="-15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59297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7FCC257-EA09-BD4A-948B-67A45C7CD4F1}"/>
              </a:ext>
            </a:extLst>
          </p:cNvPr>
          <p:cNvSpPr/>
          <p:nvPr userDrawn="1"/>
        </p:nvSpPr>
        <p:spPr>
          <a:xfrm>
            <a:off x="616120" y="589761"/>
            <a:ext cx="10972800" cy="561648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EC0F854-B8E0-8C49-9E1D-235EA08A905B}"/>
              </a:ext>
            </a:extLst>
          </p:cNvPr>
          <p:cNvSpPr/>
          <p:nvPr userDrawn="1"/>
        </p:nvSpPr>
        <p:spPr>
          <a:xfrm>
            <a:off x="2132331" y="6231742"/>
            <a:ext cx="1283969" cy="12773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1C2A624-B98E-5044-B4F6-1111AB8FE2DD}"/>
              </a:ext>
            </a:extLst>
          </p:cNvPr>
          <p:cNvSpPr/>
          <p:nvPr userDrawn="1"/>
        </p:nvSpPr>
        <p:spPr>
          <a:xfrm>
            <a:off x="611303" y="6231744"/>
            <a:ext cx="2008071" cy="12773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riangle 7">
            <a:extLst>
              <a:ext uri="{FF2B5EF4-FFF2-40B4-BE49-F238E27FC236}">
                <a16:creationId xmlns:a16="http://schemas.microsoft.com/office/drawing/2014/main" id="{2C935465-D0E8-6F4D-9D2B-DF20B69BBE30}"/>
              </a:ext>
            </a:extLst>
          </p:cNvPr>
          <p:cNvSpPr/>
          <p:nvPr userDrawn="1"/>
        </p:nvSpPr>
        <p:spPr>
          <a:xfrm>
            <a:off x="2572594" y="6231742"/>
            <a:ext cx="92075" cy="127733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riangle 8">
            <a:extLst>
              <a:ext uri="{FF2B5EF4-FFF2-40B4-BE49-F238E27FC236}">
                <a16:creationId xmlns:a16="http://schemas.microsoft.com/office/drawing/2014/main" id="{50334C8B-1426-234B-BDA6-3BF82867E716}"/>
              </a:ext>
            </a:extLst>
          </p:cNvPr>
          <p:cNvSpPr/>
          <p:nvPr userDrawn="1"/>
        </p:nvSpPr>
        <p:spPr>
          <a:xfrm>
            <a:off x="3104930" y="6231741"/>
            <a:ext cx="251266" cy="127733"/>
          </a:xfrm>
          <a:prstGeom prst="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9821CD9-E9FD-D44F-BD8D-DBDC582AF370}"/>
              </a:ext>
            </a:extLst>
          </p:cNvPr>
          <p:cNvSpPr/>
          <p:nvPr userDrawn="1"/>
        </p:nvSpPr>
        <p:spPr>
          <a:xfrm>
            <a:off x="3230563" y="6231740"/>
            <a:ext cx="8350180" cy="12773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95E4F9E-9DFB-E342-930A-FE23A47975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36540" y="2630911"/>
            <a:ext cx="9118920" cy="159617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9000">
                <a:solidFill>
                  <a:schemeClr val="bg1"/>
                </a:soli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175553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5AB2926D-045D-414B-988E-5F3FB48F248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58461" y="6361993"/>
            <a:ext cx="430452" cy="365125"/>
          </a:xfrm>
        </p:spPr>
        <p:txBody>
          <a:bodyPr/>
          <a:lstStyle/>
          <a:p>
            <a:fld id="{41DB2F47-229F-47A2-8706-DC58E3C6416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Date Placeholder 2">
            <a:extLst>
              <a:ext uri="{FF2B5EF4-FFF2-40B4-BE49-F238E27FC236}">
                <a16:creationId xmlns:a16="http://schemas.microsoft.com/office/drawing/2014/main" id="{D39334DF-44CE-614E-BC20-602714A12EA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567540" y="6361993"/>
            <a:ext cx="8841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C7B0E201-8E7A-9941-A28C-D7162737FAF4}" type="datetime1">
              <a:rPr lang="en-US" smtClean="0"/>
              <a:t>2/17/20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86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5967F4-1175-5648-93D1-5BE0ED25DA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10364451" cy="47663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589B0C0-844B-8C46-A2A0-0D160E65D89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180190" y="6025042"/>
            <a:ext cx="554610" cy="365125"/>
          </a:xfrm>
        </p:spPr>
        <p:txBody>
          <a:bodyPr/>
          <a:lstStyle/>
          <a:p>
            <a:fld id="{41DB2F47-229F-47A2-8706-DC58E3C6416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B1713E1E-7B3B-5F4C-9098-508E61331E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7200" y="6035675"/>
            <a:ext cx="667288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baseline="0">
                <a:solidFill>
                  <a:schemeClr val="bg1">
                    <a:lumMod val="75000"/>
                  </a:schemeClr>
                </a:solidFill>
                <a:latin typeface="Arial" charset="0"/>
              </a:defRPr>
            </a:lvl1pPr>
          </a:lstStyle>
          <a:p>
            <a:pPr>
              <a:defRPr/>
            </a:pPr>
            <a:r>
              <a:rPr lang="en-US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Salt River Project, 2021. All rights reserved. FOR INTERNAL USE ONLY. DO NOT DISTRIBUTE.</a:t>
            </a:r>
            <a:endParaRPr lang="en-US" spc="55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8B93E387-B298-7340-80F7-F577B906290B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57200" y="1442972"/>
            <a:ext cx="11277600" cy="408356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Date Placeholder 2">
            <a:extLst>
              <a:ext uri="{FF2B5EF4-FFF2-40B4-BE49-F238E27FC236}">
                <a16:creationId xmlns:a16="http://schemas.microsoft.com/office/drawing/2014/main" id="{D8EB3D2A-4E2E-C044-A7BD-69F6D93658C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296046" y="6025041"/>
            <a:ext cx="8841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607428D5-A9FA-2044-B535-E91D517F29E5}" type="datetime1">
              <a:rPr lang="en-US" smtClean="0"/>
              <a:t>2/17/20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167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5967F4-1175-5648-93D1-5BE0ED25DA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10364451" cy="47663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589B0C0-844B-8C46-A2A0-0D160E65D89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170763" y="6322754"/>
            <a:ext cx="564037" cy="365125"/>
          </a:xfrm>
        </p:spPr>
        <p:txBody>
          <a:bodyPr/>
          <a:lstStyle/>
          <a:p>
            <a:fld id="{41DB2F47-229F-47A2-8706-DC58E3C6416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B1713E1E-7B3B-5F4C-9098-508E61331E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7200" y="6333387"/>
            <a:ext cx="667288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baseline="0">
                <a:solidFill>
                  <a:schemeClr val="bg1">
                    <a:lumMod val="75000"/>
                  </a:schemeClr>
                </a:solidFill>
                <a:latin typeface="Arial" charset="0"/>
              </a:defRPr>
            </a:lvl1pPr>
          </a:lstStyle>
          <a:p>
            <a:pPr>
              <a:defRPr/>
            </a:pPr>
            <a:r>
              <a:rPr lang="en-US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Salt River Project, 2021. All rights reserved. FOR INTERNAL USE ONLY. DO NOT DISTRIBUTE.</a:t>
            </a:r>
            <a:endParaRPr lang="en-US" spc="55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able Placeholder 7">
            <a:extLst>
              <a:ext uri="{FF2B5EF4-FFF2-40B4-BE49-F238E27FC236}">
                <a16:creationId xmlns:a16="http://schemas.microsoft.com/office/drawing/2014/main" id="{F44107AB-9137-564C-87BB-6BC93F7AA881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457200" y="1382713"/>
            <a:ext cx="11277600" cy="4667213"/>
          </a:xfrm>
        </p:spPr>
        <p:txBody>
          <a:bodyPr/>
          <a:lstStyle/>
          <a:p>
            <a:endParaRPr lang="en-US"/>
          </a:p>
        </p:txBody>
      </p:sp>
      <p:sp>
        <p:nvSpPr>
          <p:cNvPr id="9" name="Date Placeholder 2">
            <a:extLst>
              <a:ext uri="{FF2B5EF4-FFF2-40B4-BE49-F238E27FC236}">
                <a16:creationId xmlns:a16="http://schemas.microsoft.com/office/drawing/2014/main" id="{B3C96D25-38FD-BA4F-BA5D-1F7E1474049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286619" y="6322754"/>
            <a:ext cx="8841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A911FD23-3A45-6649-B212-A8D1E1D7E8BE}" type="datetime1">
              <a:rPr lang="en-US" smtClean="0"/>
              <a:t>2/17/20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6590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71F89A-D3F3-0B44-A06B-566412E9CBD2}"/>
              </a:ext>
            </a:extLst>
          </p:cNvPr>
          <p:cNvSpPr/>
          <p:nvPr userDrawn="1"/>
        </p:nvSpPr>
        <p:spPr>
          <a:xfrm>
            <a:off x="616120" y="589761"/>
            <a:ext cx="10972800" cy="561648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CA744C1-6542-F84B-9E09-E091C2269D0A}"/>
              </a:ext>
            </a:extLst>
          </p:cNvPr>
          <p:cNvSpPr/>
          <p:nvPr userDrawn="1"/>
        </p:nvSpPr>
        <p:spPr>
          <a:xfrm>
            <a:off x="2132331" y="6231742"/>
            <a:ext cx="1283969" cy="12773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77BEA8D-FEA1-8B42-849D-4C84ACE63C6B}"/>
              </a:ext>
            </a:extLst>
          </p:cNvPr>
          <p:cNvSpPr/>
          <p:nvPr userDrawn="1"/>
        </p:nvSpPr>
        <p:spPr>
          <a:xfrm>
            <a:off x="611303" y="6231744"/>
            <a:ext cx="2008071" cy="12773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riangle 8">
            <a:extLst>
              <a:ext uri="{FF2B5EF4-FFF2-40B4-BE49-F238E27FC236}">
                <a16:creationId xmlns:a16="http://schemas.microsoft.com/office/drawing/2014/main" id="{1510146A-6343-6648-AA7D-F7F7C5F99F8D}"/>
              </a:ext>
            </a:extLst>
          </p:cNvPr>
          <p:cNvSpPr/>
          <p:nvPr userDrawn="1"/>
        </p:nvSpPr>
        <p:spPr>
          <a:xfrm>
            <a:off x="2572594" y="6231742"/>
            <a:ext cx="92075" cy="127733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riangle 9">
            <a:extLst>
              <a:ext uri="{FF2B5EF4-FFF2-40B4-BE49-F238E27FC236}">
                <a16:creationId xmlns:a16="http://schemas.microsoft.com/office/drawing/2014/main" id="{94AF4944-2438-7543-BDEB-39CD740E3B17}"/>
              </a:ext>
            </a:extLst>
          </p:cNvPr>
          <p:cNvSpPr/>
          <p:nvPr userDrawn="1"/>
        </p:nvSpPr>
        <p:spPr>
          <a:xfrm>
            <a:off x="3104930" y="6231741"/>
            <a:ext cx="251266" cy="127733"/>
          </a:xfrm>
          <a:prstGeom prst="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316C1BE-39E7-F04D-9897-DAB339578E87}"/>
              </a:ext>
            </a:extLst>
          </p:cNvPr>
          <p:cNvSpPr/>
          <p:nvPr userDrawn="1"/>
        </p:nvSpPr>
        <p:spPr>
          <a:xfrm>
            <a:off x="3230563" y="6231740"/>
            <a:ext cx="8350180" cy="12773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AB28FD36-FBA8-724C-9F46-02C9D97EFF94}"/>
              </a:ext>
            </a:extLst>
          </p:cNvPr>
          <p:cNvSpPr txBox="1">
            <a:spLocks/>
          </p:cNvSpPr>
          <p:nvPr userDrawn="1"/>
        </p:nvSpPr>
        <p:spPr>
          <a:xfrm>
            <a:off x="1900266" y="2525234"/>
            <a:ext cx="8282608" cy="205859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00000"/>
              </a:lnSpc>
              <a:spcBef>
                <a:spcPts val="0"/>
              </a:spcBef>
              <a:buNone/>
              <a:defRPr/>
            </a:pPr>
            <a:r>
              <a:rPr lang="en-US" sz="9600" b="1" spc="-300">
                <a:solidFill>
                  <a:srgbClr val="9DC3E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eak </a:t>
            </a:r>
            <a:r>
              <a:rPr lang="en-US" sz="9600" b="1" spc="-3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</a:t>
            </a:r>
            <a:endParaRPr lang="en-US" sz="9600" b="1" spc="-15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5387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5967F4-1175-5648-93D1-5BE0ED25DA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10364451" cy="47663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B1713E1E-7B3B-5F4C-9098-508E61331E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7200" y="6035675"/>
            <a:ext cx="667288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baseline="0">
                <a:solidFill>
                  <a:schemeClr val="bg1">
                    <a:lumMod val="75000"/>
                  </a:schemeClr>
                </a:solidFill>
                <a:latin typeface="Arial" charset="0"/>
              </a:defRPr>
            </a:lvl1pPr>
          </a:lstStyle>
          <a:p>
            <a:pPr>
              <a:defRPr/>
            </a:pPr>
            <a:r>
              <a:rPr lang="en-US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Salt River Project, 2021. All rights reserved. FOR INTERNAL USE ONLY. DO NOT DISTRIBUTE.</a:t>
            </a:r>
            <a:endParaRPr lang="en-US" spc="55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Freeform 6">
            <a:extLst>
              <a:ext uri="{FF2B5EF4-FFF2-40B4-BE49-F238E27FC236}">
                <a16:creationId xmlns:a16="http://schemas.microsoft.com/office/drawing/2014/main" id="{838409DA-4CD8-8E43-993A-DA6C959F8DE7}"/>
              </a:ext>
            </a:extLst>
          </p:cNvPr>
          <p:cNvSpPr/>
          <p:nvPr userDrawn="1"/>
        </p:nvSpPr>
        <p:spPr>
          <a:xfrm>
            <a:off x="3950923" y="1442011"/>
            <a:ext cx="5776381" cy="456750"/>
          </a:xfrm>
          <a:custGeom>
            <a:avLst/>
            <a:gdLst>
              <a:gd name="connsiteX0" fmla="*/ 0 w 5930879"/>
              <a:gd name="connsiteY0" fmla="*/ 0 h 456750"/>
              <a:gd name="connsiteX1" fmla="*/ 5702504 w 5930879"/>
              <a:gd name="connsiteY1" fmla="*/ 0 h 456750"/>
              <a:gd name="connsiteX2" fmla="*/ 5930879 w 5930879"/>
              <a:gd name="connsiteY2" fmla="*/ 228375 h 456750"/>
              <a:gd name="connsiteX3" fmla="*/ 5702504 w 5930879"/>
              <a:gd name="connsiteY3" fmla="*/ 456750 h 456750"/>
              <a:gd name="connsiteX4" fmla="*/ 0 w 5930879"/>
              <a:gd name="connsiteY4" fmla="*/ 456750 h 456750"/>
              <a:gd name="connsiteX5" fmla="*/ 228375 w 5930879"/>
              <a:gd name="connsiteY5" fmla="*/ 228375 h 456750"/>
              <a:gd name="connsiteX6" fmla="*/ 0 w 5930879"/>
              <a:gd name="connsiteY6" fmla="*/ 0 h 456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930879" h="456750">
                <a:moveTo>
                  <a:pt x="0" y="0"/>
                </a:moveTo>
                <a:lnTo>
                  <a:pt x="5702504" y="0"/>
                </a:lnTo>
                <a:lnTo>
                  <a:pt x="5930879" y="228375"/>
                </a:lnTo>
                <a:lnTo>
                  <a:pt x="5702504" y="456750"/>
                </a:lnTo>
                <a:lnTo>
                  <a:pt x="0" y="456750"/>
                </a:lnTo>
                <a:lnTo>
                  <a:pt x="228375" y="228375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48640" tIns="91440" rIns="255045" bIns="53340" numCol="1" spcCol="1270" anchor="ctr" anchorCtr="0">
            <a:noAutofit/>
          </a:bodyPr>
          <a:lstStyle/>
          <a:p>
            <a:pPr lvl="0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Freeform 7">
            <a:extLst>
              <a:ext uri="{FF2B5EF4-FFF2-40B4-BE49-F238E27FC236}">
                <a16:creationId xmlns:a16="http://schemas.microsoft.com/office/drawing/2014/main" id="{F3B97757-1B97-DA48-BC7F-DE16A5E12DF2}"/>
              </a:ext>
            </a:extLst>
          </p:cNvPr>
          <p:cNvSpPr/>
          <p:nvPr userDrawn="1"/>
        </p:nvSpPr>
        <p:spPr>
          <a:xfrm>
            <a:off x="7473105" y="1442011"/>
            <a:ext cx="4191708" cy="456750"/>
          </a:xfrm>
          <a:custGeom>
            <a:avLst/>
            <a:gdLst>
              <a:gd name="connsiteX0" fmla="*/ 0 w 5930879"/>
              <a:gd name="connsiteY0" fmla="*/ 0 h 456750"/>
              <a:gd name="connsiteX1" fmla="*/ 5702504 w 5930879"/>
              <a:gd name="connsiteY1" fmla="*/ 0 h 456750"/>
              <a:gd name="connsiteX2" fmla="*/ 5930879 w 5930879"/>
              <a:gd name="connsiteY2" fmla="*/ 228375 h 456750"/>
              <a:gd name="connsiteX3" fmla="*/ 5702504 w 5930879"/>
              <a:gd name="connsiteY3" fmla="*/ 456750 h 456750"/>
              <a:gd name="connsiteX4" fmla="*/ 0 w 5930879"/>
              <a:gd name="connsiteY4" fmla="*/ 456750 h 456750"/>
              <a:gd name="connsiteX5" fmla="*/ 228375 w 5930879"/>
              <a:gd name="connsiteY5" fmla="*/ 228375 h 456750"/>
              <a:gd name="connsiteX6" fmla="*/ 0 w 5930879"/>
              <a:gd name="connsiteY6" fmla="*/ 0 h 456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930879" h="456750">
                <a:moveTo>
                  <a:pt x="0" y="0"/>
                </a:moveTo>
                <a:lnTo>
                  <a:pt x="5702504" y="0"/>
                </a:lnTo>
                <a:lnTo>
                  <a:pt x="5930879" y="228375"/>
                </a:lnTo>
                <a:lnTo>
                  <a:pt x="5702504" y="456750"/>
                </a:lnTo>
                <a:lnTo>
                  <a:pt x="0" y="456750"/>
                </a:lnTo>
                <a:lnTo>
                  <a:pt x="228375" y="228375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5760" tIns="91440" rIns="255045" bIns="53340" numCol="1" spcCol="1270" anchor="ctr" anchorCtr="0">
            <a:noAutofit/>
          </a:bodyPr>
          <a:lstStyle/>
          <a:p>
            <a:pPr lvl="0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BC3DD60D-F7F4-7442-ABEB-C06C502277C2}"/>
              </a:ext>
            </a:extLst>
          </p:cNvPr>
          <p:cNvSpPr/>
          <p:nvPr userDrawn="1"/>
        </p:nvSpPr>
        <p:spPr>
          <a:xfrm>
            <a:off x="580159" y="1442011"/>
            <a:ext cx="3742996" cy="456750"/>
          </a:xfrm>
          <a:custGeom>
            <a:avLst/>
            <a:gdLst>
              <a:gd name="connsiteX0" fmla="*/ 0 w 5930879"/>
              <a:gd name="connsiteY0" fmla="*/ 0 h 456750"/>
              <a:gd name="connsiteX1" fmla="*/ 5702504 w 5930879"/>
              <a:gd name="connsiteY1" fmla="*/ 0 h 456750"/>
              <a:gd name="connsiteX2" fmla="*/ 5930879 w 5930879"/>
              <a:gd name="connsiteY2" fmla="*/ 228375 h 456750"/>
              <a:gd name="connsiteX3" fmla="*/ 5702504 w 5930879"/>
              <a:gd name="connsiteY3" fmla="*/ 456750 h 456750"/>
              <a:gd name="connsiteX4" fmla="*/ 0 w 5930879"/>
              <a:gd name="connsiteY4" fmla="*/ 456750 h 456750"/>
              <a:gd name="connsiteX5" fmla="*/ 0 w 5930879"/>
              <a:gd name="connsiteY5" fmla="*/ 0 h 456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930879" h="456750">
                <a:moveTo>
                  <a:pt x="0" y="0"/>
                </a:moveTo>
                <a:lnTo>
                  <a:pt x="5702504" y="0"/>
                </a:lnTo>
                <a:lnTo>
                  <a:pt x="5930879" y="228375"/>
                </a:lnTo>
                <a:lnTo>
                  <a:pt x="5702504" y="456750"/>
                </a:lnTo>
                <a:lnTo>
                  <a:pt x="0" y="45675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74320" tIns="91440" rIns="140857" bIns="54864" numCol="1" spcCol="1270" anchor="ctr" anchorCtr="0">
            <a:noAutofit/>
          </a:bodyPr>
          <a:lstStyle/>
          <a:p>
            <a:pPr lvl="0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Text Placeholder 36">
            <a:extLst>
              <a:ext uri="{FF2B5EF4-FFF2-40B4-BE49-F238E27FC236}">
                <a16:creationId xmlns:a16="http://schemas.microsoft.com/office/drawing/2014/main" id="{819970DC-7799-214F-B273-247063C5C67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42481" y="1442011"/>
            <a:ext cx="3339101" cy="418436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Pct val="100000"/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36">
            <a:extLst>
              <a:ext uri="{FF2B5EF4-FFF2-40B4-BE49-F238E27FC236}">
                <a16:creationId xmlns:a16="http://schemas.microsoft.com/office/drawing/2014/main" id="{E96AC26D-6735-F24A-8768-52F9B6E27D2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479534" y="1442011"/>
            <a:ext cx="2993572" cy="418436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Pct val="100000"/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36">
            <a:extLst>
              <a:ext uri="{FF2B5EF4-FFF2-40B4-BE49-F238E27FC236}">
                <a16:creationId xmlns:a16="http://schemas.microsoft.com/office/drawing/2014/main" id="{49C993C8-5ED2-E640-BDD3-48521BD7A1A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798086" y="1442011"/>
            <a:ext cx="3339101" cy="418436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Pct val="100000"/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3FEBD60-310D-7842-87D1-22F624094EC9}"/>
              </a:ext>
            </a:extLst>
          </p:cNvPr>
          <p:cNvCxnSpPr>
            <a:cxnSpLocks/>
          </p:cNvCxnSpPr>
          <p:nvPr userDrawn="1"/>
        </p:nvCxnSpPr>
        <p:spPr>
          <a:xfrm>
            <a:off x="4169459" y="2140428"/>
            <a:ext cx="0" cy="3174795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C70869C-5A65-0143-ABED-B9D6F35A194C}"/>
              </a:ext>
            </a:extLst>
          </p:cNvPr>
          <p:cNvCxnSpPr>
            <a:cxnSpLocks/>
          </p:cNvCxnSpPr>
          <p:nvPr userDrawn="1"/>
        </p:nvCxnSpPr>
        <p:spPr>
          <a:xfrm>
            <a:off x="7473104" y="2140428"/>
            <a:ext cx="0" cy="3174795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67">
            <a:extLst>
              <a:ext uri="{FF2B5EF4-FFF2-40B4-BE49-F238E27FC236}">
                <a16:creationId xmlns:a16="http://schemas.microsoft.com/office/drawing/2014/main" id="{3AC4A4B6-7CFA-5D4A-B1A0-BFE79CCB7B6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42482" y="2175204"/>
            <a:ext cx="3108441" cy="2619102"/>
          </a:xfrm>
        </p:spPr>
        <p:txBody>
          <a:bodyPr>
            <a:normAutofit/>
          </a:bodyPr>
          <a:lstStyle>
            <a:lvl1pPr>
              <a:lnSpc>
                <a:spcPts val="1800"/>
              </a:lnSpc>
              <a:spcBef>
                <a:spcPts val="0"/>
              </a:spcBef>
              <a:spcAft>
                <a:spcPts val="1800"/>
              </a:spcAft>
              <a:defRPr sz="1800" b="0" u="sng">
                <a:solidFill>
                  <a:schemeClr val="tx2"/>
                </a:solidFill>
              </a:defRPr>
            </a:lvl1pPr>
            <a:lvl2pPr marL="228600" indent="-228600">
              <a:lnSpc>
                <a:spcPts val="1200"/>
              </a:lnSpc>
              <a:spcBef>
                <a:spcPts val="0"/>
              </a:spcBef>
              <a:spcAft>
                <a:spcPts val="1200"/>
              </a:spcAft>
              <a:buClrTx/>
              <a:defRPr sz="1800" b="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67">
            <a:extLst>
              <a:ext uri="{FF2B5EF4-FFF2-40B4-BE49-F238E27FC236}">
                <a16:creationId xmlns:a16="http://schemas.microsoft.com/office/drawing/2014/main" id="{C9B949ED-BAE1-C645-B4B4-9D06597C0A1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479534" y="2175204"/>
            <a:ext cx="2775033" cy="2619102"/>
          </a:xfrm>
        </p:spPr>
        <p:txBody>
          <a:bodyPr>
            <a:normAutofit/>
          </a:bodyPr>
          <a:lstStyle>
            <a:lvl1pPr>
              <a:lnSpc>
                <a:spcPts val="1800"/>
              </a:lnSpc>
              <a:spcBef>
                <a:spcPts val="0"/>
              </a:spcBef>
              <a:spcAft>
                <a:spcPts val="1800"/>
              </a:spcAft>
              <a:defRPr sz="1800" b="0" u="sng">
                <a:solidFill>
                  <a:schemeClr val="tx2"/>
                </a:solidFill>
              </a:defRPr>
            </a:lvl1pPr>
            <a:lvl2pPr marL="228600" indent="-228600">
              <a:lnSpc>
                <a:spcPts val="1200"/>
              </a:lnSpc>
              <a:spcBef>
                <a:spcPts val="0"/>
              </a:spcBef>
              <a:spcAft>
                <a:spcPts val="1200"/>
              </a:spcAft>
              <a:buClrTx/>
              <a:defRPr sz="1800" b="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Text Placeholder 67">
            <a:extLst>
              <a:ext uri="{FF2B5EF4-FFF2-40B4-BE49-F238E27FC236}">
                <a16:creationId xmlns:a16="http://schemas.microsoft.com/office/drawing/2014/main" id="{71DCBFAC-B38C-DB45-AB92-C6CD8C04BA0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798086" y="2175204"/>
            <a:ext cx="3108441" cy="2619102"/>
          </a:xfrm>
        </p:spPr>
        <p:txBody>
          <a:bodyPr>
            <a:normAutofit/>
          </a:bodyPr>
          <a:lstStyle>
            <a:lvl1pPr>
              <a:lnSpc>
                <a:spcPts val="1800"/>
              </a:lnSpc>
              <a:spcBef>
                <a:spcPts val="0"/>
              </a:spcBef>
              <a:spcAft>
                <a:spcPts val="1800"/>
              </a:spcAft>
              <a:defRPr sz="1800" b="0" u="sng">
                <a:solidFill>
                  <a:schemeClr val="tx2"/>
                </a:solidFill>
              </a:defRPr>
            </a:lvl1pPr>
            <a:lvl2pPr marL="228600" indent="-228600">
              <a:lnSpc>
                <a:spcPts val="1200"/>
              </a:lnSpc>
              <a:spcBef>
                <a:spcPts val="0"/>
              </a:spcBef>
              <a:spcAft>
                <a:spcPts val="1200"/>
              </a:spcAft>
              <a:buClrTx/>
              <a:defRPr sz="1800" b="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Slide Number Placeholder 3">
            <a:extLst>
              <a:ext uri="{FF2B5EF4-FFF2-40B4-BE49-F238E27FC236}">
                <a16:creationId xmlns:a16="http://schemas.microsoft.com/office/drawing/2014/main" id="{2568257A-D73F-364F-8349-B0CA668750C1}"/>
              </a:ext>
            </a:extLst>
          </p:cNvPr>
          <p:cNvSpPr txBox="1">
            <a:spLocks/>
          </p:cNvSpPr>
          <p:nvPr userDrawn="1"/>
        </p:nvSpPr>
        <p:spPr>
          <a:xfrm>
            <a:off x="11304348" y="6035585"/>
            <a:ext cx="430452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 baseline="0">
                <a:solidFill>
                  <a:schemeClr val="bg1">
                    <a:lumMod val="75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1DB2F47-229F-47A2-8706-DC58E3C6416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4" name="Date Placeholder 2">
            <a:extLst>
              <a:ext uri="{FF2B5EF4-FFF2-40B4-BE49-F238E27FC236}">
                <a16:creationId xmlns:a16="http://schemas.microsoft.com/office/drawing/2014/main" id="{6AACF181-C620-0D4A-BD4D-0EFA6777FD49}"/>
              </a:ext>
            </a:extLst>
          </p:cNvPr>
          <p:cNvSpPr txBox="1">
            <a:spLocks/>
          </p:cNvSpPr>
          <p:nvPr userDrawn="1"/>
        </p:nvSpPr>
        <p:spPr>
          <a:xfrm>
            <a:off x="10413427" y="6035585"/>
            <a:ext cx="8841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C9B7248-5D01-5844-970A-E3257EF8481C}" type="datetime1">
              <a:rPr lang="en-US" smtClean="0"/>
              <a:pPr/>
              <a:t>2/17/20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2029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 Ou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5967F4-1175-5648-93D1-5BE0ED25DA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3736" y="2052300"/>
            <a:ext cx="10364451" cy="47663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48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B1713E1E-7B3B-5F4C-9098-508E61331E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7200" y="6035675"/>
            <a:ext cx="667288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baseline="0">
                <a:solidFill>
                  <a:schemeClr val="bg1">
                    <a:lumMod val="75000"/>
                  </a:schemeClr>
                </a:solidFill>
                <a:latin typeface="Arial" charset="0"/>
              </a:defRPr>
            </a:lvl1pPr>
          </a:lstStyle>
          <a:p>
            <a:pPr>
              <a:defRPr/>
            </a:pPr>
            <a:r>
              <a:rPr lang="en-US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Salt River Project, 2021. All rights reserved. FOR INTERNAL USE ONLY. DO NOT DISTRIBUTE.</a:t>
            </a:r>
            <a:endParaRPr lang="en-US" spc="55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8B93E387-B298-7340-80F7-F577B906290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093736" y="2831858"/>
            <a:ext cx="8666952" cy="2166890"/>
          </a:xfrm>
        </p:spPr>
        <p:txBody>
          <a:bodyPr>
            <a:normAutofit/>
          </a:bodyPr>
          <a:lstStyle>
            <a:lvl1pPr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FB91C86B-BEA3-D14F-8385-788E9B0071D5}"/>
              </a:ext>
            </a:extLst>
          </p:cNvPr>
          <p:cNvSpPr txBox="1">
            <a:spLocks/>
          </p:cNvSpPr>
          <p:nvPr userDrawn="1"/>
        </p:nvSpPr>
        <p:spPr>
          <a:xfrm>
            <a:off x="11304348" y="6035585"/>
            <a:ext cx="430452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 baseline="0">
                <a:solidFill>
                  <a:schemeClr val="bg1">
                    <a:lumMod val="75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1DB2F47-229F-47A2-8706-DC58E3C6416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Date Placeholder 2">
            <a:extLst>
              <a:ext uri="{FF2B5EF4-FFF2-40B4-BE49-F238E27FC236}">
                <a16:creationId xmlns:a16="http://schemas.microsoft.com/office/drawing/2014/main" id="{40D9EED6-DDFA-6046-B2C6-B6897D15E303}"/>
              </a:ext>
            </a:extLst>
          </p:cNvPr>
          <p:cNvSpPr txBox="1">
            <a:spLocks/>
          </p:cNvSpPr>
          <p:nvPr userDrawn="1"/>
        </p:nvSpPr>
        <p:spPr>
          <a:xfrm>
            <a:off x="10413427" y="6035585"/>
            <a:ext cx="8841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C9B7248-5D01-5844-970A-E3257EF8481C}" type="datetime1">
              <a:rPr lang="en-US" smtClean="0"/>
              <a:pPr/>
              <a:t>2/17/20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3649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out Call 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93AD1DAD-E11F-6347-8132-C3D0A2C5E66E}"/>
              </a:ext>
            </a:extLst>
          </p:cNvPr>
          <p:cNvSpPr txBox="1"/>
          <p:nvPr userDrawn="1"/>
        </p:nvSpPr>
        <p:spPr>
          <a:xfrm>
            <a:off x="7254240" y="1617161"/>
            <a:ext cx="3984152" cy="3503479"/>
          </a:xfrm>
          <a:prstGeom prst="rect">
            <a:avLst/>
          </a:prstGeom>
          <a:solidFill>
            <a:schemeClr val="accent5"/>
          </a:solidFill>
        </p:spPr>
        <p:txBody>
          <a:bodyPr vert="horz" wrap="square" lIns="182880" tIns="182880" rIns="182880" bIns="182880" rtlCol="0" anchor="t">
            <a:normAutofit/>
          </a:bodyPr>
          <a:lstStyle/>
          <a:p>
            <a:pPr marL="0" marR="0" lvl="1" indent="0" defTabSz="914400" eaLnBrk="1" fontAlgn="auto" latinLnBrk="0" hangingPunct="1">
              <a:lnSpc>
                <a:spcPts val="1600"/>
              </a:lnSpc>
              <a:spcBef>
                <a:spcPts val="60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E5967F4-1175-5648-93D1-5BE0ED25DA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10364451" cy="47663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B1713E1E-7B3B-5F4C-9098-508E61331E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7200" y="6035675"/>
            <a:ext cx="667288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baseline="0">
                <a:solidFill>
                  <a:schemeClr val="bg1">
                    <a:lumMod val="75000"/>
                  </a:schemeClr>
                </a:solidFill>
                <a:latin typeface="Arial" charset="0"/>
              </a:defRPr>
            </a:lvl1pPr>
          </a:lstStyle>
          <a:p>
            <a:pPr>
              <a:defRPr/>
            </a:pPr>
            <a:r>
              <a:rPr lang="en-US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Salt River Project, 2021. All rights reserved. FOR INTERNAL USE ONLY. DO NOT DISTRIBUTE.</a:t>
            </a:r>
            <a:endParaRPr lang="en-US" spc="55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8B93E387-B298-7340-80F7-F577B906290B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57200" y="1617161"/>
            <a:ext cx="5316876" cy="350347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11">
            <a:extLst>
              <a:ext uri="{FF2B5EF4-FFF2-40B4-BE49-F238E27FC236}">
                <a16:creationId xmlns:a16="http://schemas.microsoft.com/office/drawing/2014/main" id="{92F7B7CD-2801-EA4C-ADF1-3861740AA050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7461181" y="1832082"/>
            <a:ext cx="3570270" cy="307896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0A086D81-BEB0-6A4D-8D16-AB3F358C1274}"/>
              </a:ext>
            </a:extLst>
          </p:cNvPr>
          <p:cNvSpPr txBox="1">
            <a:spLocks/>
          </p:cNvSpPr>
          <p:nvPr userDrawn="1"/>
        </p:nvSpPr>
        <p:spPr>
          <a:xfrm>
            <a:off x="11304348" y="6035585"/>
            <a:ext cx="430452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 baseline="0">
                <a:solidFill>
                  <a:schemeClr val="bg1">
                    <a:lumMod val="75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1DB2F47-229F-47A2-8706-DC58E3C6416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Date Placeholder 2">
            <a:extLst>
              <a:ext uri="{FF2B5EF4-FFF2-40B4-BE49-F238E27FC236}">
                <a16:creationId xmlns:a16="http://schemas.microsoft.com/office/drawing/2014/main" id="{075D0229-9D9A-1E43-81DE-0AEA341D6692}"/>
              </a:ext>
            </a:extLst>
          </p:cNvPr>
          <p:cNvSpPr txBox="1">
            <a:spLocks/>
          </p:cNvSpPr>
          <p:nvPr userDrawn="1"/>
        </p:nvSpPr>
        <p:spPr>
          <a:xfrm>
            <a:off x="10413427" y="6035585"/>
            <a:ext cx="8841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C9B7248-5D01-5844-970A-E3257EF8481C}" type="datetime1">
              <a:rPr lang="en-US" smtClean="0"/>
              <a:pPr/>
              <a:t>2/17/20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8362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34ED19A-0C7E-464B-8C87-396D8BAAF19D}"/>
              </a:ext>
            </a:extLst>
          </p:cNvPr>
          <p:cNvSpPr/>
          <p:nvPr userDrawn="1"/>
        </p:nvSpPr>
        <p:spPr>
          <a:xfrm>
            <a:off x="616120" y="589761"/>
            <a:ext cx="10972800" cy="561648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A6A09CD-64B6-A346-8D4E-D79373CA016F}"/>
              </a:ext>
            </a:extLst>
          </p:cNvPr>
          <p:cNvSpPr/>
          <p:nvPr userDrawn="1"/>
        </p:nvSpPr>
        <p:spPr>
          <a:xfrm>
            <a:off x="2132331" y="6231742"/>
            <a:ext cx="1283969" cy="12773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82011CD-FD7C-7946-B71F-51255278F699}"/>
              </a:ext>
            </a:extLst>
          </p:cNvPr>
          <p:cNvSpPr/>
          <p:nvPr userDrawn="1"/>
        </p:nvSpPr>
        <p:spPr>
          <a:xfrm>
            <a:off x="611303" y="6231744"/>
            <a:ext cx="2008071" cy="12773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riangle 8">
            <a:extLst>
              <a:ext uri="{FF2B5EF4-FFF2-40B4-BE49-F238E27FC236}">
                <a16:creationId xmlns:a16="http://schemas.microsoft.com/office/drawing/2014/main" id="{C5590E44-B712-E942-BE8F-63080D2434B9}"/>
              </a:ext>
            </a:extLst>
          </p:cNvPr>
          <p:cNvSpPr/>
          <p:nvPr userDrawn="1"/>
        </p:nvSpPr>
        <p:spPr>
          <a:xfrm>
            <a:off x="2572594" y="6231742"/>
            <a:ext cx="92075" cy="127733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riangle 9">
            <a:extLst>
              <a:ext uri="{FF2B5EF4-FFF2-40B4-BE49-F238E27FC236}">
                <a16:creationId xmlns:a16="http://schemas.microsoft.com/office/drawing/2014/main" id="{607BDC1E-39E5-C94E-ABEA-7A73AE4DD17C}"/>
              </a:ext>
            </a:extLst>
          </p:cNvPr>
          <p:cNvSpPr/>
          <p:nvPr userDrawn="1"/>
        </p:nvSpPr>
        <p:spPr>
          <a:xfrm>
            <a:off x="3104930" y="6231741"/>
            <a:ext cx="251266" cy="127733"/>
          </a:xfrm>
          <a:prstGeom prst="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007E0DF-0735-AB45-8E00-649996DE641B}"/>
              </a:ext>
            </a:extLst>
          </p:cNvPr>
          <p:cNvSpPr/>
          <p:nvPr userDrawn="1"/>
        </p:nvSpPr>
        <p:spPr>
          <a:xfrm>
            <a:off x="3230563" y="6231740"/>
            <a:ext cx="8350180" cy="12773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9129243-C883-8940-B30C-3520E0E2928E}"/>
              </a:ext>
            </a:extLst>
          </p:cNvPr>
          <p:cNvSpPr txBox="1">
            <a:spLocks/>
          </p:cNvSpPr>
          <p:nvPr userDrawn="1"/>
        </p:nvSpPr>
        <p:spPr>
          <a:xfrm>
            <a:off x="614218" y="2681300"/>
            <a:ext cx="10963563" cy="204494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500" b="1" i="0" u="none" strike="noStrike" kern="1200" cap="none" spc="-300" normalizeH="0" baseline="0" noProof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ank</a:t>
            </a:r>
            <a:r>
              <a:rPr kumimoji="0" lang="en-US" sz="8500" b="1" i="0" u="none" strike="noStrike" kern="1200" cap="none" spc="-300" normalizeH="0" baseline="0" noProof="0">
                <a:ln>
                  <a:noFill/>
                </a:ln>
                <a:solidFill>
                  <a:srgbClr val="9DC3E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8500" b="1" i="0" u="none" strike="noStrike" kern="1200" cap="none" spc="-3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you!</a:t>
            </a:r>
            <a:endParaRPr kumimoji="0" lang="en-US" sz="8500" b="1" i="0" u="none" strike="noStrike" kern="1200" cap="none" spc="-15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6539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 descr="presentationheader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1417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8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371600"/>
            <a:ext cx="12192000" cy="76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203200" y="533401"/>
            <a:ext cx="172720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1429" tIns="45714" rIns="91429" bIns="45714">
            <a:spAutoFit/>
          </a:bodyPr>
          <a:lstStyle/>
          <a:p>
            <a:pPr algn="l">
              <a:defRPr/>
            </a:pPr>
            <a:endParaRPr lang="en-US" b="0">
              <a:solidFill>
                <a:srgbClr val="003366"/>
              </a:solidFill>
              <a:ea typeface="ＭＳ Ｐゴシック" pitchFamily="-64" charset="-128"/>
            </a:endParaRPr>
          </a:p>
        </p:txBody>
      </p:sp>
      <p:pic>
        <p:nvPicPr>
          <p:cNvPr id="6" name="Picture 23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7000" y="6172201"/>
            <a:ext cx="170180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555" name="Rectangle 27"/>
          <p:cNvSpPr>
            <a:spLocks noGrp="1" noChangeArrowheads="1"/>
          </p:cNvSpPr>
          <p:nvPr>
            <p:ph type="subTitle" idx="1"/>
          </p:nvPr>
        </p:nvSpPr>
        <p:spPr>
          <a:xfrm>
            <a:off x="1828800" y="3352800"/>
            <a:ext cx="8534400" cy="1752600"/>
          </a:xfr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Rectangle 2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376C3F96-8F6B-4859-855E-DB36C550729F}" type="datetime1">
              <a:rPr lang="en-US"/>
              <a:pPr/>
              <a:t>2/17/2022</a:t>
            </a:fld>
            <a:endParaRPr lang="en-US"/>
          </a:p>
        </p:txBody>
      </p:sp>
      <p:sp>
        <p:nvSpPr>
          <p:cNvPr id="8" name="Rectangle 2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Rectangle 2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09600" y="6457950"/>
            <a:ext cx="1016000" cy="323850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Page </a:t>
            </a:r>
            <a:fld id="{C78E9D8D-F04D-4620-BCEB-A2F309C14F03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701373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6095998" y="6293626"/>
            <a:ext cx="4672519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chemeClr val="tx1"/>
                </a:solidFill>
              </a:rPr>
              <a:t>footer</a:t>
            </a: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0856284" y="6293626"/>
            <a:ext cx="764215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1DB2F47-229F-47A2-8706-DC58E3C6416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935182" y="4350327"/>
            <a:ext cx="10515600" cy="94254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>
              <a:defRPr sz="3000" baseline="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466854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CA"/>
              <a:t>Click to edit Master text styles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4"/>
            <a:r>
              <a:rPr lang="en-CA"/>
              <a:t>Fifth level</a:t>
            </a:r>
            <a:endParaRPr lang="en-US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1B2310E-794F-49C0-8B68-3046758CEF63}" type="datetime1">
              <a:rPr lang="en-US"/>
              <a:pPr/>
              <a:t>2/17/2022</a:t>
            </a:fld>
            <a:endParaRPr lang="en-US"/>
          </a:p>
        </p:txBody>
      </p:sp>
      <p:sp>
        <p:nvSpPr>
          <p:cNvPr id="5" name="Rectangle 1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1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08BE28D-C9C7-4108-8C55-19CA894D6C11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007907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CA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CA"/>
              <a:t>Click to edit Master text styles</a:t>
            </a:r>
          </a:p>
        </p:txBody>
      </p:sp>
      <p:sp>
        <p:nvSpPr>
          <p:cNvPr id="4" name="Rectangle 1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C6FDB32-FD29-4389-8B79-F87B09E1FC47}" type="datetime1">
              <a:rPr lang="en-US"/>
              <a:pPr/>
              <a:t>2/17/2022</a:t>
            </a:fld>
            <a:endParaRPr lang="en-US"/>
          </a:p>
        </p:txBody>
      </p:sp>
      <p:sp>
        <p:nvSpPr>
          <p:cNvPr id="5" name="Rectangle 1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1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FA58295-D907-46F2-82F8-1968EC93F94F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89558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0"/>
            <a:ext cx="5384800" cy="43434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Master text styles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4"/>
            <a:r>
              <a:rPr lang="en-CA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0"/>
            <a:ext cx="5384800" cy="43434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Master text styles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4"/>
            <a:r>
              <a:rPr lang="en-CA"/>
              <a:t>Fifth level</a:t>
            </a:r>
            <a:endParaRPr lang="en-US"/>
          </a:p>
        </p:txBody>
      </p:sp>
      <p:sp>
        <p:nvSpPr>
          <p:cNvPr id="5" name="Rectangle 1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4513261-72EF-45CE-B2A3-DB893577467F}" type="datetime1">
              <a:rPr lang="en-US"/>
              <a:pPr/>
              <a:t>2/17/2022</a:t>
            </a:fld>
            <a:endParaRPr lang="en-US"/>
          </a:p>
        </p:txBody>
      </p:sp>
      <p:sp>
        <p:nvSpPr>
          <p:cNvPr id="6" name="Rectangle 1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1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0251857-1D3F-48B5-B098-05ABD932F95C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21614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CA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CA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CA"/>
              <a:t>Click to edit Master text styles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4"/>
            <a:r>
              <a:rPr lang="en-CA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CA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CA"/>
              <a:t>Click to edit Master text styles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4"/>
            <a:r>
              <a:rPr lang="en-CA"/>
              <a:t>Fifth level</a:t>
            </a:r>
            <a:endParaRPr lang="en-US"/>
          </a:p>
        </p:txBody>
      </p:sp>
      <p:sp>
        <p:nvSpPr>
          <p:cNvPr id="7" name="Rectangle 1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EBD082A-8BEB-4CEF-910D-85B974E5A922}" type="datetime1">
              <a:rPr lang="en-US"/>
              <a:pPr/>
              <a:t>2/17/2022</a:t>
            </a:fld>
            <a:endParaRPr lang="en-US"/>
          </a:p>
        </p:txBody>
      </p:sp>
      <p:sp>
        <p:nvSpPr>
          <p:cNvPr id="8" name="Rectangle 1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Rectangle 1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E8ADD8F-1EF5-499C-B8D4-01D5D0E82143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97137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947716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697F095-9DF4-4C12-93D5-05D7E0909B04}" type="datetime1">
              <a:rPr lang="en-US"/>
              <a:pPr/>
              <a:t>2/17/2022</a:t>
            </a:fld>
            <a:endParaRPr lang="en-US"/>
          </a:p>
        </p:txBody>
      </p:sp>
      <p:sp>
        <p:nvSpPr>
          <p:cNvPr id="3" name="Rectangle 1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37393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slideLayout" Target="../slideLayouts/slideLayout15.xml"/><Relationship Id="rId18" Type="http://schemas.openxmlformats.org/officeDocument/2006/relationships/image" Target="../media/image5.png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12" Type="http://schemas.openxmlformats.org/officeDocument/2006/relationships/slideLayout" Target="../slideLayouts/slideLayout14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4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5" Type="http://schemas.openxmlformats.org/officeDocument/2006/relationships/slideLayout" Target="../slideLayouts/slideLayout7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12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Relationship Id="rId14" Type="http://schemas.openxmlformats.org/officeDocument/2006/relationships/slideLayout" Target="../slideLayouts/slideLayout1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18.xml"/><Relationship Id="rId16" Type="http://schemas.openxmlformats.org/officeDocument/2006/relationships/vmlDrawing" Target="../drawings/vmlDrawing1.v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26.xml"/><Relationship Id="rId19" Type="http://schemas.openxmlformats.org/officeDocument/2006/relationships/image" Target="../media/image7.emf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09600" y="274638"/>
            <a:ext cx="109728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0" y="1600201"/>
            <a:ext cx="10972800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ext styles</a:t>
            </a:r>
          </a:p>
          <a:p>
            <a:pPr lvl="1"/>
            <a:r>
              <a:rPr lang="en-US" altLang="en-US" dirty="0"/>
              <a:t>Second level</a:t>
            </a:r>
          </a:p>
          <a:p>
            <a:pPr lvl="2"/>
            <a:r>
              <a:rPr lang="en-US" altLang="en-US" dirty="0"/>
              <a:t>Third level</a:t>
            </a:r>
          </a:p>
          <a:p>
            <a:pPr lvl="3"/>
            <a:r>
              <a:rPr lang="en-US" altLang="en-US" dirty="0"/>
              <a:t>Fourth level</a:t>
            </a:r>
          </a:p>
          <a:p>
            <a:pPr lvl="4"/>
            <a:r>
              <a:rPr lang="en-US" altLang="en-US" dirty="0"/>
              <a:t>Fifth le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09600" y="6245225"/>
            <a:ext cx="28448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 b="0"/>
            </a:lvl1pPr>
          </a:lstStyle>
          <a:p>
            <a:pPr algn="l">
              <a:spcBef>
                <a:spcPct val="0"/>
              </a:spcBef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65600" y="6245225"/>
            <a:ext cx="38608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 b="0"/>
            </a:lvl1pPr>
          </a:lstStyle>
          <a:p>
            <a:pPr>
              <a:spcBef>
                <a:spcPct val="0"/>
              </a:spcBef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37600" y="6245225"/>
            <a:ext cx="28448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 b="0"/>
            </a:lvl1pPr>
          </a:lstStyle>
          <a:p>
            <a:pPr>
              <a:spcBef>
                <a:spcPct val="0"/>
              </a:spcBef>
              <a:defRPr/>
            </a:pPr>
            <a:fld id="{6B93275C-B3B7-42BA-BD71-925CD9A0922E}" type="slidenum">
              <a:rPr lang="en-US">
                <a:solidFill>
                  <a:srgbClr val="000000"/>
                </a:solidFill>
              </a:rPr>
              <a:pPr>
                <a:spcBef>
                  <a:spcPct val="0"/>
                </a:spcBef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3075" name="Picture 3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06" y="0"/>
            <a:ext cx="12190695" cy="1200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6" name="Picture 4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5669" y="1222225"/>
            <a:ext cx="12293245" cy="575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632067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93" r:id="rId1"/>
    <p:sldLayoutId id="2147484298" r:id="rId2"/>
  </p:sldLayoutIdLst>
  <p:transition spd="med">
    <p:zoom/>
  </p:transition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rgbClr val="002060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rgbClr val="002060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rgbClr val="002060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rgbClr val="002060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rgbClr val="002060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0" y="1600200"/>
            <a:ext cx="10972800" cy="434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9" tIns="45714" rIns="91429" bIns="4571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27" name="Picture 7" descr="presentationheader"/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1417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609600" y="228600"/>
            <a:ext cx="96520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9" tIns="45714" rIns="91429" bIns="4571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1029" name="Picture 9"/>
          <p:cNvPicPr>
            <a:picLocks noChangeAspect="1" noChangeArrowheads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371600"/>
            <a:ext cx="12192000" cy="76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442" name="Text Box 10"/>
          <p:cNvSpPr txBox="1">
            <a:spLocks noChangeArrowheads="1"/>
          </p:cNvSpPr>
          <p:nvPr userDrawn="1"/>
        </p:nvSpPr>
        <p:spPr bwMode="auto">
          <a:xfrm>
            <a:off x="203200" y="533401"/>
            <a:ext cx="172720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1429" tIns="45714" rIns="91429" bIns="45714">
            <a:spAutoFit/>
          </a:bodyPr>
          <a:lstStyle/>
          <a:p>
            <a:pPr algn="l">
              <a:defRPr/>
            </a:pPr>
            <a:endParaRPr lang="en-US" b="0">
              <a:solidFill>
                <a:srgbClr val="003366"/>
              </a:solidFill>
              <a:ea typeface="ＭＳ Ｐゴシック" pitchFamily="-64" charset="-128"/>
            </a:endParaRPr>
          </a:p>
        </p:txBody>
      </p:sp>
      <p:sp>
        <p:nvSpPr>
          <p:cNvPr id="18445" name="Rectangle 1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213600" y="6457950"/>
            <a:ext cx="2844800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9" tIns="45714" rIns="91429" bIns="45714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defRPr sz="1100"/>
            </a:lvl1pPr>
          </a:lstStyle>
          <a:p>
            <a:fld id="{EC68D66D-53C0-4251-BF6E-F3F419F42FAC}" type="datetime1">
              <a:rPr lang="en-US" b="0">
                <a:solidFill>
                  <a:srgbClr val="3E7FC6"/>
                </a:solidFill>
                <a:latin typeface="Trebuchet MS" pitchFamily="34" charset="0"/>
                <a:ea typeface="ＭＳ Ｐゴシック" pitchFamily="-64" charset="-128"/>
              </a:rPr>
              <a:pPr/>
              <a:t>2/17/2022</a:t>
            </a:fld>
            <a:endParaRPr lang="en-US" b="0">
              <a:solidFill>
                <a:srgbClr val="3E7FC6"/>
              </a:solidFill>
              <a:latin typeface="Trebuchet MS" pitchFamily="34" charset="0"/>
              <a:ea typeface="ＭＳ Ｐゴシック" pitchFamily="-64" charset="-128"/>
            </a:endParaRPr>
          </a:p>
        </p:txBody>
      </p:sp>
      <p:sp>
        <p:nvSpPr>
          <p:cNvPr id="18446" name="Rectangle 1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30400" y="6457950"/>
            <a:ext cx="4978400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9" tIns="45714" rIns="91429" bIns="45714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defRPr sz="1100" b="0" i="0" baseline="0">
                <a:latin typeface="Trebuchet MS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>
              <a:solidFill>
                <a:srgbClr val="3E7FC6"/>
              </a:solidFill>
            </a:endParaRPr>
          </a:p>
        </p:txBody>
      </p:sp>
      <p:sp>
        <p:nvSpPr>
          <p:cNvPr id="18447" name="Rectangle 1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0" y="6534150"/>
            <a:ext cx="1016000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9" tIns="45714" rIns="91429" bIns="45714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defRPr sz="1100"/>
            </a:lvl1pPr>
          </a:lstStyle>
          <a:p>
            <a:fld id="{7B7BB26E-04AF-484B-8442-525863943878}" type="slidenum">
              <a:rPr lang="en-US" b="0">
                <a:solidFill>
                  <a:srgbClr val="3E7FC6"/>
                </a:solidFill>
                <a:latin typeface="Trebuchet MS" pitchFamily="34" charset="0"/>
                <a:ea typeface="ＭＳ Ｐゴシック" pitchFamily="-64" charset="-128"/>
              </a:rPr>
              <a:pPr/>
              <a:t>‹#›</a:t>
            </a:fld>
            <a:endParaRPr lang="en-US" b="0">
              <a:solidFill>
                <a:srgbClr val="3E7FC6"/>
              </a:solidFill>
              <a:latin typeface="Trebuchet MS" pitchFamily="34" charset="0"/>
              <a:ea typeface="ＭＳ Ｐゴシック" pitchFamily="-64" charset="-128"/>
            </a:endParaRPr>
          </a:p>
        </p:txBody>
      </p:sp>
      <p:sp>
        <p:nvSpPr>
          <p:cNvPr id="2061" name="Rectangle 13"/>
          <p:cNvSpPr>
            <a:spLocks noChangeArrowheads="1"/>
          </p:cNvSpPr>
          <p:nvPr userDrawn="1"/>
        </p:nvSpPr>
        <p:spPr bwMode="auto">
          <a:xfrm>
            <a:off x="1618704" y="6348740"/>
            <a:ext cx="369395" cy="523220"/>
          </a:xfrm>
          <a:prstGeom prst="rect">
            <a:avLst/>
          </a:prstGeom>
          <a:solidFill>
            <a:schemeClr val="bg1"/>
          </a:solidFill>
          <a:ln w="31750">
            <a:noFill/>
            <a:miter lim="800000"/>
            <a:headEnd/>
            <a:tailEnd/>
          </a:ln>
          <a:effectLst/>
        </p:spPr>
        <p:txBody>
          <a:bodyPr wrap="none" lIns="182880" tIns="137160" rIns="182880" bIns="137160" anchor="ctr">
            <a:spAutoFit/>
          </a:bodyPr>
          <a:lstStyle/>
          <a:p>
            <a:pPr>
              <a:lnSpc>
                <a:spcPct val="80000"/>
              </a:lnSpc>
              <a:spcBef>
                <a:spcPct val="20000"/>
              </a:spcBef>
              <a:defRPr/>
            </a:pPr>
            <a:endParaRPr lang="en-US" sz="2000" b="0">
              <a:solidFill>
                <a:srgbClr val="3E7FC6"/>
              </a:solidFill>
              <a:latin typeface="Trebuchet MS" charset="0"/>
              <a:ea typeface="ＭＳ Ｐゴシック" charset="-128"/>
              <a:cs typeface="ＭＳ Ｐゴシック" charset="-128"/>
            </a:endParaRPr>
          </a:p>
        </p:txBody>
      </p:sp>
      <p:pic>
        <p:nvPicPr>
          <p:cNvPr id="1035" name="Picture 12" descr="emblem-GC2020_RGB.eps"/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78701" y="6124575"/>
            <a:ext cx="4239684" cy="52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576239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00" r:id="rId1"/>
    <p:sldLayoutId id="2147484301" r:id="rId2"/>
    <p:sldLayoutId id="2147484302" r:id="rId3"/>
    <p:sldLayoutId id="2147484303" r:id="rId4"/>
    <p:sldLayoutId id="2147484304" r:id="rId5"/>
    <p:sldLayoutId id="2147484305" r:id="rId6"/>
    <p:sldLayoutId id="2147484306" r:id="rId7"/>
    <p:sldLayoutId id="2147484307" r:id="rId8"/>
    <p:sldLayoutId id="2147484308" r:id="rId9"/>
    <p:sldLayoutId id="2147484309" r:id="rId10"/>
    <p:sldLayoutId id="2147484310" r:id="rId11"/>
    <p:sldLayoutId id="2147484311" r:id="rId12"/>
    <p:sldLayoutId id="2147484312" r:id="rId13"/>
    <p:sldLayoutId id="2147484313" r:id="rId14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+mj-lt"/>
          <a:ea typeface="ＭＳ Ｐゴシック" charset="-128"/>
          <a:cs typeface="ＭＳ Ｐゴシック" charset="-128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Trebuchet MS" charset="0"/>
          <a:ea typeface="ＭＳ Ｐゴシック" charset="-128"/>
          <a:cs typeface="ＭＳ Ｐゴシック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Trebuchet MS" charset="0"/>
          <a:ea typeface="ＭＳ Ｐゴシック" charset="-128"/>
          <a:cs typeface="ＭＳ Ｐゴシック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Trebuchet MS" charset="0"/>
          <a:ea typeface="ＭＳ Ｐゴシック" charset="-128"/>
          <a:cs typeface="ＭＳ Ｐゴシック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Trebuchet MS" charset="0"/>
          <a:ea typeface="ＭＳ Ｐゴシック" charset="-128"/>
          <a:cs typeface="ＭＳ Ｐゴシック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Trebuchet MS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Trebuchet MS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Trebuchet MS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Trebuchet MS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rgbClr val="3E7FC6"/>
          </a:solidFill>
          <a:latin typeface="+mn-lt"/>
          <a:ea typeface="ＭＳ Ｐゴシック" charset="-128"/>
          <a:cs typeface="ＭＳ Ｐゴシック" charset="-128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rgbClr val="3E7FC6"/>
          </a:solidFill>
          <a:latin typeface="+mn-lt"/>
          <a:ea typeface="ＭＳ Ｐゴシック" charset="-128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rgbClr val="3E7FC6"/>
          </a:solidFill>
          <a:latin typeface="+mn-lt"/>
          <a:ea typeface="ＭＳ Ｐゴシック" charset="-128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rgbClr val="3E7FC6"/>
          </a:solidFill>
          <a:latin typeface="+mn-lt"/>
          <a:ea typeface="ＭＳ Ｐゴシック" charset="-128"/>
        </a:defRPr>
      </a:lvl4pPr>
      <a:lvl5pPr marL="2055813" indent="-227013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rgbClr val="3E7FC6"/>
          </a:solidFill>
          <a:latin typeface="+mn-lt"/>
          <a:ea typeface="ＭＳ Ｐゴシック" charset="-128"/>
        </a:defRPr>
      </a:lvl5pPr>
      <a:lvl6pPr marL="2513013" indent="-227013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3E7FC6"/>
          </a:solidFill>
          <a:latin typeface="+mn-lt"/>
          <a:ea typeface="ＭＳ Ｐゴシック" charset="-128"/>
        </a:defRPr>
      </a:lvl6pPr>
      <a:lvl7pPr marL="2970213" indent="-227013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3E7FC6"/>
          </a:solidFill>
          <a:latin typeface="+mn-lt"/>
          <a:ea typeface="ＭＳ Ｐゴシック" charset="-128"/>
        </a:defRPr>
      </a:lvl7pPr>
      <a:lvl8pPr marL="3427413" indent="-227013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3E7FC6"/>
          </a:solidFill>
          <a:latin typeface="+mn-lt"/>
          <a:ea typeface="ＭＳ Ｐゴシック" charset="-128"/>
        </a:defRPr>
      </a:lvl8pPr>
      <a:lvl9pPr marL="3884613" indent="-227013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3E7FC6"/>
          </a:solidFill>
          <a:latin typeface="+mn-lt"/>
          <a:ea typeface="ＭＳ Ｐゴシック" charset="-128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CEA4BED-BCA7-483C-BBC6-88E87E7854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0568707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8" imgW="303" imgH="303" progId="TCLayout.ActiveDocument.1">
                  <p:embed/>
                </p:oleObj>
              </mc:Choice>
              <mc:Fallback>
                <p:oleObj name="think-cell Slide" r:id="rId18" imgW="303" imgH="30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CEA4BED-BCA7-483C-BBC6-88E87E7854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10364451" cy="476636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6035675"/>
            <a:ext cx="667288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baseline="0">
                <a:solidFill>
                  <a:schemeClr val="bg1">
                    <a:lumMod val="75000"/>
                  </a:schemeClr>
                </a:solidFill>
                <a:latin typeface="Arial" charset="0"/>
              </a:defRPr>
            </a:lvl1pPr>
          </a:lstStyle>
          <a:p>
            <a:pPr>
              <a:defRPr/>
            </a:pPr>
            <a:r>
              <a:rPr lang="en-US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Salt River Project, 2021. All rights reserved. FOR INTERNAL USE ONLY. DO NOT DISTRIBUTE.</a:t>
            </a:r>
            <a:endParaRPr lang="en-US" spc="55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970585" y="6025042"/>
            <a:ext cx="764215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 baseline="0">
                <a:solidFill>
                  <a:schemeClr val="bg1">
                    <a:lumMod val="75000"/>
                  </a:schemeClr>
                </a:solidFill>
                <a:latin typeface="Arial" charset="0"/>
              </a:defRPr>
            </a:lvl1pPr>
          </a:lstStyle>
          <a:p>
            <a:fld id="{41DB2F47-229F-47A2-8706-DC58E3C6416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6D4C9AB-13DA-0241-B89D-09B039A4241D}"/>
              </a:ext>
            </a:extLst>
          </p:cNvPr>
          <p:cNvSpPr/>
          <p:nvPr/>
        </p:nvSpPr>
        <p:spPr>
          <a:xfrm>
            <a:off x="811603" y="6583680"/>
            <a:ext cx="1082137" cy="27432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4E786CA-1B57-7345-9496-AB9D1D883C2A}"/>
              </a:ext>
            </a:extLst>
          </p:cNvPr>
          <p:cNvSpPr/>
          <p:nvPr/>
        </p:nvSpPr>
        <p:spPr>
          <a:xfrm>
            <a:off x="0" y="6583680"/>
            <a:ext cx="1082137" cy="2743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riangle 11">
            <a:extLst>
              <a:ext uri="{FF2B5EF4-FFF2-40B4-BE49-F238E27FC236}">
                <a16:creationId xmlns:a16="http://schemas.microsoft.com/office/drawing/2014/main" id="{D632B200-FF6C-B94C-9305-0BF9848B5AA2}"/>
              </a:ext>
            </a:extLst>
          </p:cNvPr>
          <p:cNvSpPr/>
          <p:nvPr/>
        </p:nvSpPr>
        <p:spPr>
          <a:xfrm>
            <a:off x="984745" y="6583680"/>
            <a:ext cx="194783" cy="274320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riangle 12">
            <a:extLst>
              <a:ext uri="{FF2B5EF4-FFF2-40B4-BE49-F238E27FC236}">
                <a16:creationId xmlns:a16="http://schemas.microsoft.com/office/drawing/2014/main" id="{BBF91A0B-5223-174F-944F-3DB60FFE760A}"/>
              </a:ext>
            </a:extLst>
          </p:cNvPr>
          <p:cNvSpPr/>
          <p:nvPr/>
        </p:nvSpPr>
        <p:spPr>
          <a:xfrm>
            <a:off x="1504167" y="6583680"/>
            <a:ext cx="194783" cy="274320"/>
          </a:xfrm>
          <a:prstGeom prst="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9A4BD64-9DCE-E240-B016-CADA4B3E558C}"/>
              </a:ext>
            </a:extLst>
          </p:cNvPr>
          <p:cNvSpPr/>
          <p:nvPr/>
        </p:nvSpPr>
        <p:spPr>
          <a:xfrm>
            <a:off x="1601557" y="6583680"/>
            <a:ext cx="10607040" cy="27432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8A9F6978-CD65-F840-98E9-90075460A4DD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454985" y="1400323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Date Placeholder 2">
            <a:extLst>
              <a:ext uri="{FF2B5EF4-FFF2-40B4-BE49-F238E27FC236}">
                <a16:creationId xmlns:a16="http://schemas.microsoft.com/office/drawing/2014/main" id="{3D01A5C6-1650-D740-8F28-2A5960CDBE1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86441" y="6035585"/>
            <a:ext cx="8841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21FF35A7-B506-B84C-BF63-1852E2B46749}" type="datetime1">
              <a:rPr lang="en-US" smtClean="0"/>
              <a:t>2/17/20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89475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15" r:id="rId1"/>
    <p:sldLayoutId id="2147484316" r:id="rId2"/>
    <p:sldLayoutId id="2147484317" r:id="rId3"/>
    <p:sldLayoutId id="2147484318" r:id="rId4"/>
    <p:sldLayoutId id="2147484319" r:id="rId5"/>
    <p:sldLayoutId id="2147484320" r:id="rId6"/>
    <p:sldLayoutId id="2147484321" r:id="rId7"/>
    <p:sldLayoutId id="2147484322" r:id="rId8"/>
    <p:sldLayoutId id="2147484323" r:id="rId9"/>
    <p:sldLayoutId id="2147484324" r:id="rId10"/>
    <p:sldLayoutId id="2147484325" r:id="rId11"/>
    <p:sldLayoutId id="2147484326" r:id="rId12"/>
    <p:sldLayoutId id="2147484327" r:id="rId13"/>
    <p:sldLayoutId id="2147484328" r:id="rId1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 cap="none" spc="-20" baseline="0">
          <a:solidFill>
            <a:schemeClr val="tx2"/>
          </a:solidFill>
          <a:effectLst/>
          <a:latin typeface="Arial Bold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1000"/>
        </a:spcBef>
        <a:buClr>
          <a:schemeClr val="tx2"/>
        </a:buClr>
        <a:buSzPct val="125000"/>
        <a:buFont typeface="LucidaGrande" charset="0"/>
        <a:buNone/>
        <a:defRPr sz="2200" kern="1200" cap="none" baseline="0">
          <a:solidFill>
            <a:schemeClr val="bg2"/>
          </a:solidFill>
          <a:effectLst/>
          <a:latin typeface="Arial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ts val="1800"/>
        </a:lnSpc>
        <a:spcBef>
          <a:spcPts val="1400"/>
        </a:spcBef>
        <a:buClrTx/>
        <a:buSzPct val="100000"/>
        <a:buFont typeface="Arial" panose="020B0604020202020204" pitchFamily="34" charset="0"/>
        <a:buChar char="•"/>
        <a:defRPr sz="1800" kern="1200" cap="none" baseline="0">
          <a:solidFill>
            <a:schemeClr val="tx1"/>
          </a:solidFill>
          <a:effectLst/>
          <a:latin typeface="Arial" charset="0"/>
          <a:ea typeface="+mn-ea"/>
          <a:cs typeface="+mn-cs"/>
        </a:defRPr>
      </a:lvl2pPr>
      <a:lvl3pPr marL="914400" indent="-228600" algn="l" defTabSz="914400" rtl="0" eaLnBrk="1" latinLnBrk="0" hangingPunct="1">
        <a:lnSpc>
          <a:spcPts val="1800"/>
        </a:lnSpc>
        <a:spcBef>
          <a:spcPts val="1400"/>
        </a:spcBef>
        <a:buClrTx/>
        <a:buSzPct val="100000"/>
        <a:buFont typeface="Arial" panose="020B0604020202020204" pitchFamily="34" charset="0"/>
        <a:buChar char="•"/>
        <a:defRPr sz="1800" kern="1200" cap="none" baseline="0">
          <a:solidFill>
            <a:schemeClr val="tx1"/>
          </a:solidFill>
          <a:effectLst/>
          <a:latin typeface="Arial" charset="0"/>
          <a:ea typeface="+mn-ea"/>
          <a:cs typeface="+mn-cs"/>
        </a:defRPr>
      </a:lvl3pPr>
      <a:lvl4pPr marL="1143000" indent="-228600" algn="l" defTabSz="914400" rtl="0" eaLnBrk="1" latinLnBrk="0" hangingPunct="1">
        <a:lnSpc>
          <a:spcPts val="1800"/>
        </a:lnSpc>
        <a:spcBef>
          <a:spcPts val="1400"/>
        </a:spcBef>
        <a:buClrTx/>
        <a:buSzPct val="100000"/>
        <a:buFont typeface="Arial" panose="020B0604020202020204" pitchFamily="34" charset="0"/>
        <a:buChar char="•"/>
        <a:defRPr sz="1800" kern="1200" cap="none" baseline="0">
          <a:solidFill>
            <a:schemeClr val="tx1"/>
          </a:solidFill>
          <a:effectLst/>
          <a:latin typeface="Arial" charset="0"/>
          <a:ea typeface="+mn-ea"/>
          <a:cs typeface="+mn-cs"/>
        </a:defRPr>
      </a:lvl4pPr>
      <a:lvl5pPr marL="1371600" indent="-228600" algn="l" defTabSz="914400" rtl="0" eaLnBrk="1" latinLnBrk="0" hangingPunct="1">
        <a:lnSpc>
          <a:spcPts val="1800"/>
        </a:lnSpc>
        <a:spcBef>
          <a:spcPts val="1400"/>
        </a:spcBef>
        <a:buClrTx/>
        <a:buSzPct val="100000"/>
        <a:buFont typeface="Arial" panose="020B0604020202020204" pitchFamily="34" charset="0"/>
        <a:buChar char="•"/>
        <a:defRPr sz="1800" kern="1200" cap="none" baseline="0">
          <a:solidFill>
            <a:schemeClr val="tx1"/>
          </a:solidFill>
          <a:effectLst/>
          <a:latin typeface="Arial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4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4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4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4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4104">
          <p15:clr>
            <a:srgbClr val="F26B43"/>
          </p15:clr>
        </p15:guide>
        <p15:guide id="4" orient="horz" pos="216">
          <p15:clr>
            <a:srgbClr val="F26B43"/>
          </p15:clr>
        </p15:guide>
        <p15:guide id="5" pos="360">
          <p15:clr>
            <a:srgbClr val="F26B43"/>
          </p15:clr>
        </p15:guide>
        <p15:guide id="6" pos="732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3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3.xml"/><Relationship Id="rId5" Type="http://schemas.openxmlformats.org/officeDocument/2006/relationships/hyperlink" Target="http://www.savewithsrpbiz.com/" TargetMode="External"/><Relationship Id="rId4" Type="http://schemas.openxmlformats.org/officeDocument/2006/relationships/hyperlink" Target="http://www.srpnet.com/electric/business/ccs" TargetMode="Externa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9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Relationship Id="rId9" Type="http://schemas.openxmlformats.org/officeDocument/2006/relationships/image" Target="../media/image17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11.png"/><Relationship Id="rId7" Type="http://schemas.openxmlformats.org/officeDocument/2006/relationships/image" Target="../media/image2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Relationship Id="rId9" Type="http://schemas.openxmlformats.org/officeDocument/2006/relationships/image" Target="../media/image23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11.png"/><Relationship Id="rId7" Type="http://schemas.openxmlformats.org/officeDocument/2006/relationships/image" Target="../media/image2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5.png"/><Relationship Id="rId5" Type="http://schemas.openxmlformats.org/officeDocument/2006/relationships/image" Target="../media/image19.png"/><Relationship Id="rId4" Type="http://schemas.openxmlformats.org/officeDocument/2006/relationships/image" Target="../media/image24.png"/><Relationship Id="rId9" Type="http://schemas.openxmlformats.org/officeDocument/2006/relationships/image" Target="../media/image23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11.png"/><Relationship Id="rId7" Type="http://schemas.openxmlformats.org/officeDocument/2006/relationships/image" Target="../media/image2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5.png"/><Relationship Id="rId5" Type="http://schemas.openxmlformats.org/officeDocument/2006/relationships/image" Target="../media/image19.png"/><Relationship Id="rId4" Type="http://schemas.openxmlformats.org/officeDocument/2006/relationships/image" Target="../media/image27.png"/><Relationship Id="rId9" Type="http://schemas.openxmlformats.org/officeDocument/2006/relationships/image" Target="../media/image23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11.png"/><Relationship Id="rId7" Type="http://schemas.openxmlformats.org/officeDocument/2006/relationships/image" Target="../media/image2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5.png"/><Relationship Id="rId5" Type="http://schemas.openxmlformats.org/officeDocument/2006/relationships/image" Target="../media/image19.png"/><Relationship Id="rId4" Type="http://schemas.openxmlformats.org/officeDocument/2006/relationships/image" Target="../media/image28.png"/><Relationship Id="rId9" Type="http://schemas.openxmlformats.org/officeDocument/2006/relationships/image" Target="../media/image2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31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3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 bwMode="auto">
          <a:xfrm>
            <a:off x="-1" y="1247773"/>
            <a:ext cx="12192000" cy="619127"/>
          </a:xfrm>
          <a:prstGeom prst="rect">
            <a:avLst/>
          </a:prstGeom>
          <a:solidFill>
            <a:schemeClr val="tx1">
              <a:alpha val="4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" name="Rectangle 2"/>
          <p:cNvSpPr txBox="1">
            <a:spLocks noChangeArrowheads="1"/>
          </p:cNvSpPr>
          <p:nvPr/>
        </p:nvSpPr>
        <p:spPr>
          <a:xfrm>
            <a:off x="1905738" y="245693"/>
            <a:ext cx="6384822" cy="782676"/>
          </a:xfrm>
          <a:prstGeom prst="rect">
            <a:avLst/>
          </a:prstGeom>
          <a:effectLst>
            <a:outerShdw blurRad="50800" dist="50800" dir="5400000" algn="ctr" rotWithShape="0">
              <a:schemeClr val="tx1"/>
            </a:outerShdw>
          </a:effectLst>
        </p:spPr>
        <p:txBody>
          <a:bodyPr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Trebuchet MS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Trebuchet MS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Trebuchet MS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Trebuchet MS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Trebuchet MS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Trebuchet MS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Trebuchet MS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Trebuchet MS" pitchFamily="34" charset="0"/>
              </a:defRPr>
            </a:lvl9pPr>
          </a:lstStyle>
          <a:p>
            <a:endParaRPr lang="en-US" sz="3600" dirty="0">
              <a:ln w="19050">
                <a:solidFill>
                  <a:srgbClr val="1F497D">
                    <a:tint val="1000"/>
                  </a:srgbClr>
                </a:solidFill>
                <a:prstDash val="solid"/>
              </a:ln>
              <a:solidFill>
                <a:prstClr val="white"/>
              </a:solidFill>
              <a:effectLst>
                <a:outerShdw blurRad="50000" dist="50800" dir="7500000" algn="tl">
                  <a:srgbClr val="000000">
                    <a:shade val="5000"/>
                    <a:alpha val="35000"/>
                  </a:srgbClr>
                </a:outerShdw>
              </a:effectLst>
              <a:latin typeface="Trebuchet MS" panose="020B0603020202020204" pitchFamily="34" charset="0"/>
            </a:endParaRPr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>
          <a:xfrm>
            <a:off x="-382958" y="161486"/>
            <a:ext cx="11920145" cy="1086287"/>
          </a:xfrm>
          <a:prstGeom prst="rect">
            <a:avLst/>
          </a:prstGeom>
          <a:effectLst>
            <a:outerShdw blurRad="50800" dist="50800" dir="5400000" algn="ctr" rotWithShape="0">
              <a:schemeClr val="tx1"/>
            </a:outerShdw>
          </a:effectLst>
        </p:spPr>
        <p:txBody>
          <a:bodyPr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Trebuchet MS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Trebuchet MS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Trebuchet MS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Trebuchet MS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Trebuchet MS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Trebuchet MS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Trebuchet MS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Trebuchet MS" pitchFamily="34" charset="0"/>
              </a:defRPr>
            </a:lvl9pPr>
          </a:lstStyle>
          <a:p>
            <a:pPr algn="ctr"/>
            <a:r>
              <a:rPr lang="en-US" dirty="0">
                <a:solidFill>
                  <a:schemeClr val="accent5">
                    <a:lumMod val="9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ity of Phoenix Electric Vehicle Ad Hoc Committee</a:t>
            </a:r>
          </a:p>
          <a:p>
            <a:pPr algn="ctr"/>
            <a:r>
              <a:rPr lang="en-US" sz="2600" dirty="0">
                <a:latin typeface="Calibri" panose="020F0502020204030204" pitchFamily="34" charset="0"/>
                <a:cs typeface="Calibri" panose="020F0502020204030204" pitchFamily="34" charset="0"/>
              </a:rPr>
              <a:t>Public, Workplace, and Home Charging Infrastructure Subcommittee Meeting</a:t>
            </a:r>
            <a:endParaRPr lang="en-US" sz="2600" dirty="0">
              <a:ln w="19050">
                <a:solidFill>
                  <a:srgbClr val="1F497D">
                    <a:tint val="1000"/>
                  </a:srgbClr>
                </a:solidFill>
                <a:prstDash val="solid"/>
              </a:ln>
              <a:effectLst>
                <a:outerShdw blurRad="50000" dist="50800" dir="7500000" algn="tl">
                  <a:srgbClr val="000000">
                    <a:shade val="5000"/>
                    <a:alpha val="35000"/>
                  </a:srgbClr>
                </a:outerShdw>
              </a:effectLst>
              <a:latin typeface="Trebuchet MS" panose="020B0603020202020204" pitchFamily="34" charset="0"/>
            </a:endParaRPr>
          </a:p>
        </p:txBody>
      </p:sp>
      <p:sp>
        <p:nvSpPr>
          <p:cNvPr id="8" name="Rectangle 2"/>
          <p:cNvSpPr txBox="1">
            <a:spLocks noChangeArrowheads="1"/>
          </p:cNvSpPr>
          <p:nvPr/>
        </p:nvSpPr>
        <p:spPr>
          <a:xfrm>
            <a:off x="2312237" y="1247773"/>
            <a:ext cx="6529754" cy="851575"/>
          </a:xfrm>
          <a:prstGeom prst="rect">
            <a:avLst/>
          </a:prstGeom>
          <a:effectLst>
            <a:outerShdw blurRad="50800" dist="50800" dir="5400000" algn="ctr" rotWithShape="0">
              <a:schemeClr val="tx1"/>
            </a:outerShdw>
          </a:effectLst>
        </p:spPr>
        <p:txBody>
          <a:bodyPr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Trebuchet MS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Trebuchet MS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Trebuchet MS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Trebuchet MS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Trebuchet MS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Trebuchet MS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Trebuchet MS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Trebuchet MS" pitchFamily="34" charset="0"/>
              </a:defRPr>
            </a:lvl9pPr>
          </a:lstStyle>
          <a:p>
            <a:pPr algn="ctr"/>
            <a:r>
              <a:rPr lang="en-US" sz="2600" b="0" dirty="0">
                <a:latin typeface="Calibri" panose="020F0502020204030204" pitchFamily="34" charset="0"/>
                <a:cs typeface="Calibri" panose="020F0502020204030204" pitchFamily="34" charset="0"/>
              </a:rPr>
              <a:t>February 18, 2022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D785F40-9A2E-4138-BF4B-4B2A86C7CAA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1067" b="6666"/>
          <a:stretch/>
        </p:blipFill>
        <p:spPr>
          <a:xfrm>
            <a:off x="-2" y="1866900"/>
            <a:ext cx="12192000" cy="49911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5E63178E-2F33-4074-A8B8-D14CD6449657}"/>
              </a:ext>
            </a:extLst>
          </p:cNvPr>
          <p:cNvSpPr txBox="1"/>
          <p:nvPr/>
        </p:nvSpPr>
        <p:spPr>
          <a:xfrm>
            <a:off x="5839966" y="6161646"/>
            <a:ext cx="61264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n 2023, VW ID. Buzz debuts in the US and will come in passenger, cargo and California camper versions.</a:t>
            </a:r>
          </a:p>
        </p:txBody>
      </p:sp>
    </p:spTree>
    <p:extLst>
      <p:ext uri="{BB962C8B-B14F-4D97-AF65-F5344CB8AC3E}">
        <p14:creationId xmlns:p14="http://schemas.microsoft.com/office/powerpoint/2010/main" val="1869020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499F0D-782A-404C-B337-D7C611A541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/>
              <a:t>Distribution Planning: Electric Vehicles	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C805B89-0434-48B3-A911-330014E580A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DB2F47-229F-47A2-8706-DC58E3C64166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7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75000"/>
                </a:srgb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3280860-F9F7-459C-9645-B86377E1CD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©Salt River Project, 2022. All rights reserved. FOR INTERNAL USE ONLY. DO NOT DISTRIBUTE.</a:t>
            </a:r>
            <a:endParaRPr kumimoji="0" lang="en-US" sz="800" b="0" i="0" u="none" strike="noStrike" kern="1200" cap="none" spc="55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D3837A8-12D2-4BBA-82DD-3296B1E559F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7428D5-A9FA-2044-B535-E91D517F29E5}" type="datetime1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7/2022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DD10758-8E04-464D-B274-450D39DB3F5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24510" y="2504384"/>
            <a:ext cx="3480159" cy="3387601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FF3F1A74-A9E4-4F78-9969-E4129C5B6B42}"/>
              </a:ext>
            </a:extLst>
          </p:cNvPr>
          <p:cNvSpPr txBox="1"/>
          <p:nvPr/>
        </p:nvSpPr>
        <p:spPr>
          <a:xfrm>
            <a:off x="658311" y="1601755"/>
            <a:ext cx="4446358" cy="1101923"/>
          </a:xfrm>
          <a:prstGeom prst="snip2DiagRect">
            <a:avLst/>
          </a:prstGeom>
          <a:solidFill>
            <a:schemeClr val="tx2"/>
          </a:solidFill>
          <a:ln>
            <a:headEnd type="none" w="med" len="med"/>
            <a:tailEnd type="none" w="med" len="med"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sing analytics to find and proactively replace overloaded service transformers before they fail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CE4D684-7B82-4EA1-B913-D30DF4D305C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57044" y="2739775"/>
            <a:ext cx="3864527" cy="315221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507F281C-78A6-4A50-AA48-B7311AD6E3B2}"/>
              </a:ext>
            </a:extLst>
          </p:cNvPr>
          <p:cNvSpPr txBox="1"/>
          <p:nvPr/>
        </p:nvSpPr>
        <p:spPr>
          <a:xfrm>
            <a:off x="6675213" y="1601755"/>
            <a:ext cx="4446358" cy="1432500"/>
          </a:xfrm>
          <a:prstGeom prst="snip2DiagRect">
            <a:avLst/>
          </a:prstGeom>
          <a:solidFill>
            <a:schemeClr val="tx2"/>
          </a:solidFill>
          <a:ln>
            <a:headEnd type="none" w="med" len="med"/>
            <a:tailEnd type="none" w="med" len="med"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reating an EV locational value map to help direct customers to locations that have existing distribution infrastructure capacity. </a:t>
            </a:r>
          </a:p>
        </p:txBody>
      </p:sp>
    </p:spTree>
    <p:extLst>
      <p:ext uri="{BB962C8B-B14F-4D97-AF65-F5344CB8AC3E}">
        <p14:creationId xmlns:p14="http://schemas.microsoft.com/office/powerpoint/2010/main" val="4247303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C9E64D-DA38-4662-B2DE-9016403ECF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10364451" cy="476636"/>
          </a:xfrm>
        </p:spPr>
        <p:txBody>
          <a:bodyPr anchor="t">
            <a:normAutofit/>
          </a:bodyPr>
          <a:lstStyle/>
          <a:p>
            <a:r>
              <a:rPr lang="en-US" sz="3300"/>
              <a:t>Customer Construction Services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6D3C1D8-4A55-41B9-94CC-3D9EC473EE6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180190" y="6025042"/>
            <a:ext cx="554610" cy="365125"/>
          </a:xfrm>
        </p:spPr>
        <p:txBody>
          <a:bodyPr anchor="ctr">
            <a:norm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41DB2F47-229F-47A2-8706-DC58E3C64166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7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75000"/>
                </a:srgb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0" name="Footer Placeholder 3">
            <a:extLst>
              <a:ext uri="{FF2B5EF4-FFF2-40B4-BE49-F238E27FC236}">
                <a16:creationId xmlns:a16="http://schemas.microsoft.com/office/drawing/2014/main" id="{3AFC1276-ED60-4CD4-B879-F0EBBCCB72C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7200" y="6035675"/>
            <a:ext cx="6672887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©Salt River Project, 2022. All rights reserved. FOR INTERNAL USE ONLY. DO NOT DISTRIBUTE.</a:t>
            </a:r>
            <a:endParaRPr kumimoji="0" lang="en-US" sz="800" b="0" i="0" u="none" strike="noStrike" kern="1200" cap="none" spc="55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29C7CA1-4922-4836-BB4A-9D73F4926C3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94050" y="1442972"/>
            <a:ext cx="5961412" cy="4083567"/>
          </a:xfrm>
          <a:prstGeom prst="rect">
            <a:avLst/>
          </a:prstGeom>
          <a:noFill/>
        </p:spPr>
      </p:pic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F0252D6-D47D-4F5D-BD11-A9B483C4624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296046" y="6025041"/>
            <a:ext cx="884144" cy="365125"/>
          </a:xfrm>
        </p:spPr>
        <p:txBody>
          <a:bodyPr anchor="ctr">
            <a:norm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607428D5-A9FA-2044-B535-E91D517F29E5}" type="datetime1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2/17/2022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152B830-B0F6-4F4E-9E36-7AD2F7A5D8D3}"/>
              </a:ext>
            </a:extLst>
          </p:cNvPr>
          <p:cNvSpPr txBox="1"/>
          <p:nvPr/>
        </p:nvSpPr>
        <p:spPr>
          <a:xfrm>
            <a:off x="457200" y="1988586"/>
            <a:ext cx="4521200" cy="25853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386C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ustomers can contact SRP via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386C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hone                                               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9539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602-236-0777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386C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ebsite: 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386C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hlinkClick r:id="rId4"/>
              </a:rPr>
              <a:t>www.srpnet.com/electric/business/ccs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386C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386C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386C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RP Business Rebat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386C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ebsite:          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386C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hlinkClick r:id="rId5"/>
              </a:rPr>
              <a:t>www.savewithsrpbiz.com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386C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94784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0416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 txBox="1">
            <a:spLocks noChangeArrowheads="1"/>
          </p:cNvSpPr>
          <p:nvPr/>
        </p:nvSpPr>
        <p:spPr>
          <a:xfrm>
            <a:off x="1905738" y="245693"/>
            <a:ext cx="6384822" cy="782676"/>
          </a:xfrm>
          <a:prstGeom prst="rect">
            <a:avLst/>
          </a:prstGeom>
          <a:effectLst>
            <a:outerShdw blurRad="50800" dist="50800" dir="5400000" algn="ctr" rotWithShape="0">
              <a:schemeClr val="tx1"/>
            </a:outerShdw>
          </a:effectLst>
        </p:spPr>
        <p:txBody>
          <a:bodyPr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Trebuchet MS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Trebuchet MS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Trebuchet MS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Trebuchet MS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Trebuchet MS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Trebuchet MS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Trebuchet MS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Trebuchet MS" pitchFamily="34" charset="0"/>
              </a:defRPr>
            </a:lvl9pPr>
          </a:lstStyle>
          <a:p>
            <a:endParaRPr lang="en-US" sz="3600" dirty="0">
              <a:ln w="19050">
                <a:solidFill>
                  <a:srgbClr val="1F497D">
                    <a:tint val="1000"/>
                  </a:srgbClr>
                </a:solidFill>
                <a:prstDash val="solid"/>
              </a:ln>
              <a:solidFill>
                <a:prstClr val="white"/>
              </a:solidFill>
              <a:effectLst>
                <a:outerShdw blurRad="50000" dist="50800" dir="7500000" algn="tl">
                  <a:srgbClr val="000000">
                    <a:shade val="5000"/>
                    <a:alpha val="35000"/>
                  </a:srgbClr>
                </a:outerShdw>
              </a:effectLst>
              <a:latin typeface="Trebuchet MS" panose="020B0603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97ED3C7-8B3D-4500-9B46-4EEC34B981F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7545" y="35104"/>
            <a:ext cx="3749365" cy="1280271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01E9B036-49D5-4D16-8578-BFB1B0658621}"/>
              </a:ext>
            </a:extLst>
          </p:cNvPr>
          <p:cNvSpPr txBox="1"/>
          <p:nvPr/>
        </p:nvSpPr>
        <p:spPr>
          <a:xfrm>
            <a:off x="7833360" y="1482313"/>
            <a:ext cx="3733800" cy="3893374"/>
          </a:xfrm>
          <a:prstGeom prst="rect">
            <a:avLst/>
          </a:prstGeom>
          <a:noFill/>
          <a:ln w="38100"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r>
              <a:rPr lang="en-US" sz="2000" u="sng" dirty="0">
                <a:solidFill>
                  <a:srgbClr val="00B050"/>
                </a:solidFill>
              </a:rPr>
              <a:t>Increase in Workplace Charger Installa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B050"/>
                </a:solidFill>
              </a:rPr>
              <a:t>NREL and DOE reports that between 4Q 2019 and 1Q 2021, 9,894 workplace chargers were installed in the U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B050"/>
                </a:solidFill>
              </a:rPr>
              <a:t>End of March 2021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B050"/>
                </a:solidFill>
              </a:rPr>
              <a:t>95% L2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B050"/>
                </a:solidFill>
              </a:rPr>
              <a:t>4% L1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B050"/>
                </a:solidFill>
              </a:rPr>
              <a:t>&lt;1% DCFC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EBF29B3C-1D22-440F-BA2B-1173A518F18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7640" y="1315375"/>
            <a:ext cx="7229856" cy="4673946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94B5FC7-F878-4EBD-9033-2595C621DF0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6058874"/>
            <a:ext cx="1993392" cy="81629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A958AC7-2FC5-48D3-85C0-034E7E5FEF5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993392" y="6051461"/>
            <a:ext cx="1344168" cy="80605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40070FC7-A819-4C72-AFAD-978DC228C27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337560" y="6058874"/>
            <a:ext cx="1472184" cy="79743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0432D598-8043-40BE-A681-BB9D3C4C31E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809744" y="6058874"/>
            <a:ext cx="1197293" cy="79743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540CBF0-BDD6-4CED-AF1B-2FF78BD9150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007037" y="6051462"/>
            <a:ext cx="1609915" cy="807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598226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 txBox="1">
            <a:spLocks noChangeArrowheads="1"/>
          </p:cNvSpPr>
          <p:nvPr/>
        </p:nvSpPr>
        <p:spPr>
          <a:xfrm>
            <a:off x="1905738" y="245693"/>
            <a:ext cx="6384822" cy="782676"/>
          </a:xfrm>
          <a:prstGeom prst="rect">
            <a:avLst/>
          </a:prstGeom>
          <a:effectLst>
            <a:outerShdw blurRad="50800" dist="50800" dir="5400000" algn="ctr" rotWithShape="0">
              <a:schemeClr val="tx1"/>
            </a:outerShdw>
          </a:effectLst>
        </p:spPr>
        <p:txBody>
          <a:bodyPr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Trebuchet MS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Trebuchet MS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Trebuchet MS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Trebuchet MS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Trebuchet MS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Trebuchet MS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Trebuchet MS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Trebuchet MS" pitchFamily="34" charset="0"/>
              </a:defRPr>
            </a:lvl9pPr>
          </a:lstStyle>
          <a:p>
            <a:endParaRPr lang="en-US" sz="3600" dirty="0">
              <a:ln w="19050">
                <a:solidFill>
                  <a:srgbClr val="1F497D">
                    <a:tint val="1000"/>
                  </a:srgbClr>
                </a:solidFill>
                <a:prstDash val="solid"/>
              </a:ln>
              <a:solidFill>
                <a:prstClr val="white"/>
              </a:solidFill>
              <a:effectLst>
                <a:outerShdw blurRad="50000" dist="50800" dir="7500000" algn="tl">
                  <a:srgbClr val="000000">
                    <a:shade val="5000"/>
                    <a:alpha val="35000"/>
                  </a:srgbClr>
                </a:outerShdw>
              </a:effectLst>
              <a:latin typeface="Trebuchet MS" panose="020B0603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97ED3C7-8B3D-4500-9B46-4EEC34B981F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7545" y="35104"/>
            <a:ext cx="3749365" cy="1280271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01E9B036-49D5-4D16-8578-BFB1B0658621}"/>
              </a:ext>
            </a:extLst>
          </p:cNvPr>
          <p:cNvSpPr txBox="1"/>
          <p:nvPr/>
        </p:nvSpPr>
        <p:spPr>
          <a:xfrm>
            <a:off x="7833359" y="1482313"/>
            <a:ext cx="4121095" cy="3447098"/>
          </a:xfrm>
          <a:prstGeom prst="rect">
            <a:avLst/>
          </a:prstGeom>
          <a:noFill/>
          <a:ln w="38100">
            <a:solidFill>
              <a:srgbClr val="002060"/>
            </a:solidFill>
          </a:ln>
        </p:spPr>
        <p:txBody>
          <a:bodyPr wrap="square" rtlCol="0">
            <a:spAutoFit/>
          </a:bodyPr>
          <a:lstStyle/>
          <a:p>
            <a:r>
              <a:rPr lang="en-US" sz="2000" u="sng" dirty="0">
                <a:solidFill>
                  <a:srgbClr val="002060"/>
                </a:solidFill>
              </a:rPr>
              <a:t>Goodyear Develops New EV Ti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2060"/>
                </a:solidFill>
              </a:rPr>
              <a:t>ElectricDrive GT is an ultra-high performance, all season ti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2060"/>
                </a:solidFill>
              </a:rPr>
              <a:t>Acts as a built-in sound barrier that helps reduce road noi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2060"/>
                </a:solidFill>
              </a:rPr>
              <a:t>Initial release is one size which fits most popular EV high-performance mode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2060"/>
                </a:solidFill>
              </a:rPr>
              <a:t>Plans to extend the ElectricDrive product portfolio in 2022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43C0D9D-22AF-420A-84B9-5DF400A2BF5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7545" y="1482313"/>
            <a:ext cx="7277100" cy="436626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110F2341-69BD-418E-B3FD-387A6D91BCD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6041065"/>
            <a:ext cx="1993565" cy="81693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81B6A5A-20D5-418B-9A34-9130FBEAE17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993565" y="6035061"/>
            <a:ext cx="1272498" cy="82293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8FE249A-2209-4FEB-92E1-9F436CA21F1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66063" y="6047207"/>
            <a:ext cx="1469263" cy="79864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11D2CDD-7C7D-4A12-A46A-72812110960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735326" y="6035059"/>
            <a:ext cx="1226562" cy="81979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4930E6F9-77E9-4DFB-8626-9F922EE2D62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961888" y="6042584"/>
            <a:ext cx="1615580" cy="8047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760179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 txBox="1">
            <a:spLocks noChangeArrowheads="1"/>
          </p:cNvSpPr>
          <p:nvPr/>
        </p:nvSpPr>
        <p:spPr>
          <a:xfrm>
            <a:off x="1905738" y="245693"/>
            <a:ext cx="6384822" cy="782676"/>
          </a:xfrm>
          <a:prstGeom prst="rect">
            <a:avLst/>
          </a:prstGeom>
          <a:effectLst>
            <a:outerShdw blurRad="50800" dist="50800" dir="5400000" algn="ctr" rotWithShape="0">
              <a:schemeClr val="tx1"/>
            </a:outerShdw>
          </a:effectLst>
        </p:spPr>
        <p:txBody>
          <a:bodyPr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Trebuchet MS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Trebuchet MS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Trebuchet MS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Trebuchet MS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Trebuchet MS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Trebuchet MS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Trebuchet MS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Trebuchet MS" pitchFamily="34" charset="0"/>
              </a:defRPr>
            </a:lvl9pPr>
          </a:lstStyle>
          <a:p>
            <a:endParaRPr lang="en-US" sz="3600" dirty="0">
              <a:ln w="19050">
                <a:solidFill>
                  <a:srgbClr val="1F497D">
                    <a:tint val="1000"/>
                  </a:srgbClr>
                </a:solidFill>
                <a:prstDash val="solid"/>
              </a:ln>
              <a:solidFill>
                <a:prstClr val="white"/>
              </a:solidFill>
              <a:effectLst>
                <a:outerShdw blurRad="50000" dist="50800" dir="7500000" algn="tl">
                  <a:srgbClr val="000000">
                    <a:shade val="5000"/>
                    <a:alpha val="35000"/>
                  </a:srgbClr>
                </a:outerShdw>
              </a:effectLst>
              <a:latin typeface="Trebuchet MS" panose="020B0603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97ED3C7-8B3D-4500-9B46-4EEC34B981F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7545" y="35104"/>
            <a:ext cx="3749365" cy="1280271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01E9B036-49D5-4D16-8578-BFB1B0658621}"/>
              </a:ext>
            </a:extLst>
          </p:cNvPr>
          <p:cNvSpPr txBox="1"/>
          <p:nvPr/>
        </p:nvSpPr>
        <p:spPr>
          <a:xfrm>
            <a:off x="7833359" y="1482313"/>
            <a:ext cx="4121095" cy="3585597"/>
          </a:xfrm>
          <a:prstGeom prst="rect">
            <a:avLst/>
          </a:prstGeom>
          <a:noFill/>
          <a:ln w="38100">
            <a:solidFill>
              <a:srgbClr val="002060"/>
            </a:solidFill>
          </a:ln>
        </p:spPr>
        <p:txBody>
          <a:bodyPr wrap="square" rtlCol="0">
            <a:spAutoFit/>
          </a:bodyPr>
          <a:lstStyle/>
          <a:p>
            <a:r>
              <a:rPr lang="en-US" sz="2000" u="sng" dirty="0">
                <a:solidFill>
                  <a:srgbClr val="002060"/>
                </a:solidFill>
              </a:rPr>
              <a:t>French Car Ads Legisl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2060"/>
                </a:solidFill>
              </a:rPr>
              <a:t>Starting in March 2022, auto ads on the radio, tv, and before movies, in print, and elsewhere have to feature a message to consider cycling, carpooling, walking, or taking transi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2060"/>
                </a:solidFill>
              </a:rPr>
              <a:t>Feature hashtag “moving without polluting”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2060"/>
                </a:solidFill>
              </a:rPr>
              <a:t>Penalties up to $56,622 for those who fail to post these message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A8D439D-4F6B-431B-B075-A2777DC4987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6304" y="1464158"/>
            <a:ext cx="7459440" cy="404053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C25C581-4FE7-4826-9F49-304897EEF5A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6041065"/>
            <a:ext cx="1993565" cy="81693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E6D6813-E635-4E63-A4FD-B8F5C2EA657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993565" y="6041065"/>
            <a:ext cx="1274174" cy="82303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94C5D39-D6D2-48EE-A266-0946C971C6A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67739" y="6053258"/>
            <a:ext cx="1347333" cy="80474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A23A5BE-5F59-4D7E-817A-89898A10F60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615071" y="6059355"/>
            <a:ext cx="1213163" cy="81083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DBB6F4A1-CC77-4C5D-A770-EB28D619AEF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828234" y="6041065"/>
            <a:ext cx="1615580" cy="8047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241549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 txBox="1">
            <a:spLocks noChangeArrowheads="1"/>
          </p:cNvSpPr>
          <p:nvPr/>
        </p:nvSpPr>
        <p:spPr>
          <a:xfrm>
            <a:off x="1905738" y="245693"/>
            <a:ext cx="6384822" cy="782676"/>
          </a:xfrm>
          <a:prstGeom prst="rect">
            <a:avLst/>
          </a:prstGeom>
          <a:effectLst>
            <a:outerShdw blurRad="50800" dist="50800" dir="5400000" algn="ctr" rotWithShape="0">
              <a:schemeClr val="tx1"/>
            </a:outerShdw>
          </a:effectLst>
        </p:spPr>
        <p:txBody>
          <a:bodyPr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Trebuchet MS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Trebuchet MS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Trebuchet MS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Trebuchet MS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Trebuchet MS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Trebuchet MS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Trebuchet MS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Trebuchet MS" pitchFamily="34" charset="0"/>
              </a:defRPr>
            </a:lvl9pPr>
          </a:lstStyle>
          <a:p>
            <a:endParaRPr lang="en-US" sz="3600" dirty="0">
              <a:ln w="19050">
                <a:solidFill>
                  <a:srgbClr val="1F497D">
                    <a:tint val="1000"/>
                  </a:srgbClr>
                </a:solidFill>
                <a:prstDash val="solid"/>
              </a:ln>
              <a:solidFill>
                <a:prstClr val="white"/>
              </a:solidFill>
              <a:effectLst>
                <a:outerShdw blurRad="50000" dist="50800" dir="7500000" algn="tl">
                  <a:srgbClr val="000000">
                    <a:shade val="5000"/>
                    <a:alpha val="35000"/>
                  </a:srgbClr>
                </a:outerShdw>
              </a:effectLst>
              <a:latin typeface="Trebuchet MS" panose="020B0603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97ED3C7-8B3D-4500-9B46-4EEC34B981F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7545" y="35104"/>
            <a:ext cx="3749365" cy="1280271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01E9B036-49D5-4D16-8578-BFB1B0658621}"/>
              </a:ext>
            </a:extLst>
          </p:cNvPr>
          <p:cNvSpPr txBox="1"/>
          <p:nvPr/>
        </p:nvSpPr>
        <p:spPr>
          <a:xfrm>
            <a:off x="7632191" y="2296129"/>
            <a:ext cx="4121095" cy="1954381"/>
          </a:xfrm>
          <a:prstGeom prst="rect">
            <a:avLst/>
          </a:prstGeom>
          <a:noFill/>
          <a:ln w="38100">
            <a:solidFill>
              <a:srgbClr val="002060"/>
            </a:solidFill>
          </a:ln>
        </p:spPr>
        <p:txBody>
          <a:bodyPr wrap="square" rtlCol="0">
            <a:spAutoFit/>
          </a:bodyPr>
          <a:lstStyle/>
          <a:p>
            <a:r>
              <a:rPr lang="en-US" sz="2000" u="sng" dirty="0">
                <a:solidFill>
                  <a:srgbClr val="002060"/>
                </a:solidFill>
              </a:rPr>
              <a:t>Ford Increases F-150 Lightening Produc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2060"/>
                </a:solidFill>
              </a:rPr>
              <a:t>Doubles production capacity to 150,000 vehicles a year by mid-2023 after receiving nearly 200,000 reservations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FF8B8E1-468A-4BED-9B0B-DDDB7E4A623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4161" y="1482313"/>
            <a:ext cx="6384822" cy="4256547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49A0A99F-22D3-4AEC-9512-8320D6AE5F9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6050209"/>
            <a:ext cx="1993565" cy="81693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D04ABBD3-B443-498A-962C-4244622BE10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993565" y="6050209"/>
            <a:ext cx="1274174" cy="82303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A321832-A884-41BF-B31E-6D2C01F217B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67739" y="6050209"/>
            <a:ext cx="1347333" cy="80474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8C603E1-8A38-4822-B00A-F963D7D384F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626737" y="6068499"/>
            <a:ext cx="1469263" cy="79864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8CF87D9-3053-4FD6-97D5-BB546F42B71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107665" y="6068499"/>
            <a:ext cx="1615580" cy="8047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030343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 txBox="1">
            <a:spLocks noChangeArrowheads="1"/>
          </p:cNvSpPr>
          <p:nvPr/>
        </p:nvSpPr>
        <p:spPr>
          <a:xfrm>
            <a:off x="1905738" y="245693"/>
            <a:ext cx="6384822" cy="782676"/>
          </a:xfrm>
          <a:prstGeom prst="rect">
            <a:avLst/>
          </a:prstGeom>
          <a:effectLst>
            <a:outerShdw blurRad="50800" dist="50800" dir="5400000" algn="ctr" rotWithShape="0">
              <a:schemeClr val="tx1"/>
            </a:outerShdw>
          </a:effectLst>
        </p:spPr>
        <p:txBody>
          <a:bodyPr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Trebuchet MS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Trebuchet MS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Trebuchet MS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Trebuchet MS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Trebuchet MS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Trebuchet MS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Trebuchet MS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Trebuchet MS" pitchFamily="34" charset="0"/>
              </a:defRPr>
            </a:lvl9pPr>
          </a:lstStyle>
          <a:p>
            <a:endParaRPr lang="en-US" sz="3600" dirty="0">
              <a:ln w="19050">
                <a:solidFill>
                  <a:srgbClr val="1F497D">
                    <a:tint val="1000"/>
                  </a:srgbClr>
                </a:solidFill>
                <a:prstDash val="solid"/>
              </a:ln>
              <a:solidFill>
                <a:prstClr val="white"/>
              </a:solidFill>
              <a:effectLst>
                <a:outerShdw blurRad="50000" dist="50800" dir="7500000" algn="tl">
                  <a:srgbClr val="000000">
                    <a:shade val="5000"/>
                    <a:alpha val="35000"/>
                  </a:srgbClr>
                </a:outerShdw>
              </a:effectLst>
              <a:latin typeface="Trebuchet MS" panose="020B0603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97ED3C7-8B3D-4500-9B46-4EEC34B981F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7545" y="35104"/>
            <a:ext cx="3749365" cy="1280271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01E9B036-49D5-4D16-8578-BFB1B0658621}"/>
              </a:ext>
            </a:extLst>
          </p:cNvPr>
          <p:cNvSpPr txBox="1"/>
          <p:nvPr/>
        </p:nvSpPr>
        <p:spPr>
          <a:xfrm>
            <a:off x="7632191" y="2296129"/>
            <a:ext cx="4121095" cy="2200602"/>
          </a:xfrm>
          <a:prstGeom prst="rect">
            <a:avLst/>
          </a:prstGeom>
          <a:noFill/>
          <a:ln w="38100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en-US" sz="2000" u="sng" dirty="0">
                <a:solidFill>
                  <a:srgbClr val="0070C0"/>
                </a:solidFill>
              </a:rPr>
              <a:t>NYC Invests in EV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70C0"/>
                </a:solidFill>
              </a:rPr>
              <a:t>$420M to transition muni fleet to all electric by 2035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70C0"/>
                </a:solidFill>
              </a:rPr>
              <a:t>184 Ford Mustang Mach-Es for use in multiple city dept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70C0"/>
                </a:solidFill>
              </a:rPr>
              <a:t>250 Tesla Model 3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EDBF8652-CF54-409B-A048-E43041C7D5C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260" y="1670654"/>
            <a:ext cx="7404897" cy="3709838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C60A46A2-5F2D-4C15-8C3C-EA1E98ED1F2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6041065"/>
            <a:ext cx="1993565" cy="81693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DEA11B6-9F78-42DD-BF62-C9BB85DB56A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993565" y="6034969"/>
            <a:ext cx="1274174" cy="82303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2294CB3-F11B-4ECB-B033-73125E08709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67739" y="6044113"/>
            <a:ext cx="1347333" cy="80474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341D5DC-000D-4659-8E47-6186AE25356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626737" y="6047161"/>
            <a:ext cx="1469263" cy="79864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B56BB76-3208-4B77-B90B-D6FA265D441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107665" y="6044113"/>
            <a:ext cx="1189247" cy="7948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352349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362269" y="4350327"/>
            <a:ext cx="10836134" cy="942542"/>
          </a:xfrm>
        </p:spPr>
        <p:txBody>
          <a:bodyPr>
            <a:normAutofit/>
          </a:bodyPr>
          <a:lstStyle/>
          <a:p>
            <a:r>
              <a:rPr lang="en-US" sz="2800" b="0" dirty="0">
                <a:latin typeface="Arial Bold"/>
                <a:cs typeface="Arial Bold"/>
              </a:rPr>
              <a:t>Phoenix EV Ad Hoc Public, Workplace and Home Charging </a:t>
            </a:r>
            <a:endParaRPr lang="en-US" sz="2800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4E80CBE-DE70-49FC-9F12-0D4850830663}"/>
              </a:ext>
            </a:extLst>
          </p:cNvPr>
          <p:cNvSpPr/>
          <p:nvPr/>
        </p:nvSpPr>
        <p:spPr>
          <a:xfrm>
            <a:off x="0" y="0"/>
            <a:ext cx="12192000" cy="4552122"/>
          </a:xfrm>
          <a:prstGeom prst="rect">
            <a:avLst/>
          </a:prstGeom>
          <a:blipFill dpi="0"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21D81CC-BC08-40AC-B36F-DC1B30B55228}"/>
              </a:ext>
            </a:extLst>
          </p:cNvPr>
          <p:cNvSpPr txBox="1"/>
          <p:nvPr/>
        </p:nvSpPr>
        <p:spPr>
          <a:xfrm>
            <a:off x="6344817" y="5664200"/>
            <a:ext cx="5601266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lissa Martinez &amp; Christine Fini | February 18, 2022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212730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FC9A3B-B27F-43DB-929F-1C4C1265A7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/>
              <a:t>Distribution Planning: Electric Vehicl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C154221-89E9-4F4C-9F59-CC58FCD1EE0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DB2F47-229F-47A2-8706-DC58E3C64166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7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75000"/>
                </a:srgb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CA827F3-6A1D-4099-A899-730C09FB1A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©Salt River Project, 2022. All rights reserved. FOR INTERNAL USE ONLY. DO NOT DISTRIBUTE.</a:t>
            </a:r>
            <a:endParaRPr kumimoji="0" lang="en-US" sz="800" b="0" i="0" u="none" strike="noStrike" kern="1200" cap="none" spc="55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C4E86C1-665F-456F-9F85-7DD6CDE9742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7428D5-A9FA-2044-B535-E91D517F29E5}" type="datetime1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7/2022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979198A9-B4A2-4C7C-98C0-D8E1364D3262}"/>
              </a:ext>
            </a:extLst>
          </p:cNvPr>
          <p:cNvGraphicFramePr>
            <a:graphicFrameLocks/>
          </p:cNvGraphicFramePr>
          <p:nvPr/>
        </p:nvGraphicFramePr>
        <p:xfrm>
          <a:off x="762000" y="1195754"/>
          <a:ext cx="11200421" cy="48292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DEBFE17B-0438-44BD-A094-5C89A63BBE0E}"/>
              </a:ext>
            </a:extLst>
          </p:cNvPr>
          <p:cNvSpPr txBox="1"/>
          <p:nvPr/>
        </p:nvSpPr>
        <p:spPr>
          <a:xfrm>
            <a:off x="3572006" y="2620043"/>
            <a:ext cx="4446358" cy="1101923"/>
          </a:xfrm>
          <a:prstGeom prst="snip2DiagRect">
            <a:avLst/>
          </a:prstGeom>
          <a:solidFill>
            <a:schemeClr val="tx2"/>
          </a:solidFill>
          <a:ln>
            <a:headEnd type="none" w="med" len="med"/>
            <a:tailEnd type="none" w="med" len="med"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RP 2035 Goal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upport Enablement of 500k EV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nage 90% of EV Charging Load</a:t>
            </a:r>
          </a:p>
        </p:txBody>
      </p:sp>
    </p:spTree>
    <p:extLst>
      <p:ext uri="{BB962C8B-B14F-4D97-AF65-F5344CB8AC3E}">
        <p14:creationId xmlns:p14="http://schemas.microsoft.com/office/powerpoint/2010/main" val="2756198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499F0D-782A-404C-B337-D7C611A541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/>
              <a:t>Distribution Planning: Electric Vehicles	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C805B89-0434-48B3-A911-330014E580A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DB2F47-229F-47A2-8706-DC58E3C64166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7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75000"/>
                </a:srgb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3280860-F9F7-459C-9645-B86377E1CD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©Salt River Project, 2022. All rights reserved. FOR INTERNAL USE ONLY. DO NOT DISTRIBUTE.</a:t>
            </a:r>
            <a:endParaRPr kumimoji="0" lang="en-US" sz="800" b="0" i="0" u="none" strike="noStrike" kern="1200" cap="none" spc="55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D3837A8-12D2-4BBA-82DD-3296B1E559F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7428D5-A9FA-2044-B535-E91D517F29E5}" type="datetime1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17/2022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4EDE0D92-BB7E-45CD-8DC5-BA7013F1606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934" t="30998" r="19055" b="9558"/>
          <a:stretch/>
        </p:blipFill>
        <p:spPr bwMode="auto">
          <a:xfrm>
            <a:off x="1671137" y="2285644"/>
            <a:ext cx="3968288" cy="37500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FF3F1A74-A9E4-4F78-9969-E4129C5B6B42}"/>
              </a:ext>
            </a:extLst>
          </p:cNvPr>
          <p:cNvSpPr txBox="1"/>
          <p:nvPr/>
        </p:nvSpPr>
        <p:spPr>
          <a:xfrm>
            <a:off x="1193067" y="1601754"/>
            <a:ext cx="4446358" cy="1101923"/>
          </a:xfrm>
          <a:prstGeom prst="snip2DiagRect">
            <a:avLst/>
          </a:prstGeom>
          <a:solidFill>
            <a:schemeClr val="tx2"/>
          </a:solidFill>
          <a:ln>
            <a:headEnd type="none" w="med" len="med"/>
            <a:tailEnd type="none" w="med" len="med"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jecting residential customer EV adoption by feeder and customer segment over time</a:t>
            </a:r>
          </a:p>
        </p:txBody>
      </p:sp>
      <p:pic>
        <p:nvPicPr>
          <p:cNvPr id="12" name="Picture 11" descr="Map&#10;&#10;Description automatically generated">
            <a:extLst>
              <a:ext uri="{FF2B5EF4-FFF2-40B4-BE49-F238E27FC236}">
                <a16:creationId xmlns:a16="http://schemas.microsoft.com/office/drawing/2014/main" id="{631A5CB8-8C1D-4D5E-A5F1-6A46F523F732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331" t="28731" r="18997" b="20155"/>
          <a:stretch/>
        </p:blipFill>
        <p:spPr>
          <a:xfrm>
            <a:off x="7113705" y="2319014"/>
            <a:ext cx="3995028" cy="3750031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5901612F-7CC1-49DA-AF9C-5C0137C7AB89}"/>
              </a:ext>
            </a:extLst>
          </p:cNvPr>
          <p:cNvSpPr txBox="1"/>
          <p:nvPr/>
        </p:nvSpPr>
        <p:spPr>
          <a:xfrm>
            <a:off x="6662375" y="1601753"/>
            <a:ext cx="4446358" cy="1101923"/>
          </a:xfrm>
          <a:prstGeom prst="snip2DiagRect">
            <a:avLst/>
          </a:prstGeom>
          <a:solidFill>
            <a:schemeClr val="tx2"/>
          </a:solidFill>
          <a:ln>
            <a:headEnd type="none" w="med" len="med"/>
            <a:tailEnd type="none" w="med" len="med"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veloped model for identifying preferred sites for public DC Fast Charging in service territory</a:t>
            </a:r>
          </a:p>
        </p:txBody>
      </p:sp>
    </p:spTree>
    <p:extLst>
      <p:ext uri="{BB962C8B-B14F-4D97-AF65-F5344CB8AC3E}">
        <p14:creationId xmlns:p14="http://schemas.microsoft.com/office/powerpoint/2010/main" val="416652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Default Design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Custom Design">
  <a:themeElements>
    <a:clrScheme name="Custom Design 8">
      <a:dk1>
        <a:srgbClr val="003366"/>
      </a:dk1>
      <a:lt1>
        <a:srgbClr val="FFFFFF"/>
      </a:lt1>
      <a:dk2>
        <a:srgbClr val="000099"/>
      </a:dk2>
      <a:lt2>
        <a:srgbClr val="CCFFFF"/>
      </a:lt2>
      <a:accent1>
        <a:srgbClr val="3366CC"/>
      </a:accent1>
      <a:accent2>
        <a:srgbClr val="00B000"/>
      </a:accent2>
      <a:accent3>
        <a:srgbClr val="AAAACA"/>
      </a:accent3>
      <a:accent4>
        <a:srgbClr val="DADADA"/>
      </a:accent4>
      <a:accent5>
        <a:srgbClr val="ADB8E2"/>
      </a:accent5>
      <a:accent6>
        <a:srgbClr val="009F00"/>
      </a:accent6>
      <a:hlink>
        <a:srgbClr val="66CCFF"/>
      </a:hlink>
      <a:folHlink>
        <a:srgbClr val="FFE701"/>
      </a:folHlink>
    </a:clrScheme>
    <a:fontScheme name="Custom Design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31750" cap="flat" cmpd="sng" algn="ctr">
          <a:solidFill>
            <a:srgbClr val="3E7FC6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182880" tIns="137160" rIns="182880" bIns="137160" numCol="1" anchor="ctr" anchorCtr="0" compatLnSpc="1">
        <a:prstTxWarp prst="textNoShape">
          <a:avLst/>
        </a:prstTxWarp>
        <a:spAutoFit/>
      </a:bodyPr>
      <a:lstStyle>
        <a:defPPr marL="342900" marR="0" indent="-342900" algn="ctr" defTabSz="914400" rtl="0" eaLnBrk="1" fontAlgn="base" latinLnBrk="0" hangingPunct="1">
          <a:lnSpc>
            <a:spcPct val="80000"/>
          </a:lnSpc>
          <a:spcBef>
            <a:spcPct val="20000"/>
          </a:spcBef>
          <a:spcAft>
            <a:spcPct val="0"/>
          </a:spcAft>
          <a:buClrTx/>
          <a:buSzTx/>
          <a:buFontTx/>
          <a:buNone/>
          <a:tabLst/>
          <a:defRPr kumimoji="0" lang="en-US" sz="2000" b="0" i="1" u="none" strike="noStrike" cap="none" normalizeH="0" baseline="-25000">
            <a:ln>
              <a:noFill/>
            </a:ln>
            <a:solidFill>
              <a:srgbClr val="3E7FC6"/>
            </a:solidFill>
            <a:effectLst/>
            <a:latin typeface="Trebuchet M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31750" cap="flat" cmpd="sng" algn="ctr">
          <a:solidFill>
            <a:srgbClr val="3E7FC6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182880" tIns="137160" rIns="182880" bIns="137160" numCol="1" anchor="ctr" anchorCtr="0" compatLnSpc="1">
        <a:prstTxWarp prst="textNoShape">
          <a:avLst/>
        </a:prstTxWarp>
        <a:spAutoFit/>
      </a:bodyPr>
      <a:lstStyle>
        <a:defPPr marL="342900" marR="0" indent="-342900" algn="ctr" defTabSz="914400" rtl="0" eaLnBrk="1" fontAlgn="base" latinLnBrk="0" hangingPunct="1">
          <a:lnSpc>
            <a:spcPct val="80000"/>
          </a:lnSpc>
          <a:spcBef>
            <a:spcPct val="20000"/>
          </a:spcBef>
          <a:spcAft>
            <a:spcPct val="0"/>
          </a:spcAft>
          <a:buClrTx/>
          <a:buSzTx/>
          <a:buFontTx/>
          <a:buNone/>
          <a:tabLst/>
          <a:defRPr kumimoji="0" lang="en-US" sz="2000" b="0" i="1" u="none" strike="noStrike" cap="none" normalizeH="0" baseline="-25000">
            <a:ln>
              <a:noFill/>
            </a:ln>
            <a:solidFill>
              <a:srgbClr val="3E7FC6"/>
            </a:solidFill>
            <a:effectLst/>
            <a:latin typeface="Trebuchet MS" charset="0"/>
          </a:defRPr>
        </a:defPPr>
      </a:lstStyle>
    </a:ln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Master">
  <a:themeElements>
    <a:clrScheme name="SRP Brand - 2020">
      <a:dk1>
        <a:srgbClr val="000000"/>
      </a:dk1>
      <a:lt1>
        <a:srgbClr val="FFFFFF"/>
      </a:lt1>
      <a:dk2>
        <a:srgbClr val="095391"/>
      </a:dk2>
      <a:lt2>
        <a:srgbClr val="0386C1"/>
      </a:lt2>
      <a:accent1>
        <a:srgbClr val="DD9604"/>
      </a:accent1>
      <a:accent2>
        <a:srgbClr val="E5C802"/>
      </a:accent2>
      <a:accent3>
        <a:srgbClr val="87B029"/>
      </a:accent3>
      <a:accent4>
        <a:srgbClr val="008C34"/>
      </a:accent4>
      <a:accent5>
        <a:srgbClr val="7DCBE3"/>
      </a:accent5>
      <a:accent6>
        <a:srgbClr val="5397E0"/>
      </a:accent6>
      <a:hlink>
        <a:srgbClr val="005492"/>
      </a:hlink>
      <a:folHlink>
        <a:srgbClr val="954F72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Droplet">
      <a:fillStyleLst>
        <a:solidFill>
          <a:schemeClr val="phClr"/>
        </a:solidFill>
        <a:solidFill>
          <a:schemeClr val="phClr">
            <a:tint val="69000"/>
            <a:satMod val="105000"/>
            <a:lumMod val="110000"/>
          </a:schemeClr>
        </a:solidFill>
        <a:gradFill rotWithShape="1">
          <a:gsLst>
            <a:gs pos="0">
              <a:schemeClr val="phClr">
                <a:tint val="94000"/>
                <a:satMod val="100000"/>
                <a:lumMod val="108000"/>
              </a:schemeClr>
            </a:gs>
            <a:gs pos="50000">
              <a:schemeClr val="phClr">
                <a:tint val="98000"/>
                <a:shade val="100000"/>
                <a:satMod val="100000"/>
                <a:lumMod val="100000"/>
              </a:schemeClr>
            </a:gs>
            <a:gs pos="100000">
              <a:schemeClr val="phClr">
                <a:shade val="72000"/>
                <a:satMod val="120000"/>
                <a:lumMod val="100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>
              <a:shade val="60000"/>
            </a:schemeClr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22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25400" dir="5400000" rotWithShape="0">
              <a:srgbClr val="000000">
                <a:alpha val="28000"/>
              </a:srgbClr>
            </a:outerShdw>
          </a:effectLst>
        </a:effectStyle>
        <a:effectStyle>
          <a:effectLst>
            <a:outerShdw blurRad="63500" dist="25400" dir="5400000" algn="ctr" rotWithShape="0">
              <a:srgbClr val="000000">
                <a:alpha val="69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1200000"/>
            </a:lightRig>
          </a:scene3d>
          <a:sp3d prstMaterial="plastic">
            <a:bevelT w="254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64000"/>
                <a:lumMod val="8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84000"/>
                <a:shade val="100000"/>
                <a:hueMod val="130000"/>
                <a:satMod val="150000"/>
                <a:lumMod val="112000"/>
              </a:schemeClr>
            </a:gs>
            <a:gs pos="100000">
              <a:schemeClr val="phClr">
                <a:shade val="92000"/>
                <a:satMod val="140000"/>
                <a:lumMod val="11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RP SRP Brand Template01 [Read-Only]" id="{FABC095D-C1C2-4073-8207-FC6AA6BE047D}" vid="{FF9575DF-3396-4926-B277-D3D7DC3CD570}"/>
    </a:ext>
  </a:extLst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KeywordTaxHTField xmlns="b49ba346-7f5b-4969-9f5f-062fcfc7fe07">
      <Terms xmlns="http://schemas.microsoft.com/office/infopath/2007/PartnerControls"/>
    </TaxKeywordTaxHTField>
    <TaxCatchAll xmlns="a0e9d492-aae1-42ec-9904-4fd688908c79"/>
    <Date_x0020_Due xmlns="a0e9d492-aae1-42ec-9904-4fd688908c79" xsi:nil="true"/>
    <PublishingExpirationDate xmlns="http://schemas.microsoft.com/sharepoint/v3" xsi:nil="true"/>
    <PublishingStartDate xmlns="http://schemas.microsoft.com/sharepoint/v3" xsi:nil="true"/>
    <HideMe xmlns="a0e9d492-aae1-42ec-9904-4fd688908c79">false</HideMe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C8251BA06842D4EAB9D9C84F4C2F6A2" ma:contentTypeVersion="8" ma:contentTypeDescription="Create a new document." ma:contentTypeScope="" ma:versionID="8dd2d8751e0cc084cefbc1851b41bb1e">
  <xsd:schema xmlns:xsd="http://www.w3.org/2001/XMLSchema" xmlns:xs="http://www.w3.org/2001/XMLSchema" xmlns:p="http://schemas.microsoft.com/office/2006/metadata/properties" xmlns:ns1="http://schemas.microsoft.com/sharepoint/v3" xmlns:ns2="a0e9d492-aae1-42ec-9904-4fd688908c79" xmlns:ns3="b49ba346-7f5b-4969-9f5f-062fcfc7fe07" targetNamespace="http://schemas.microsoft.com/office/2006/metadata/properties" ma:root="true" ma:fieldsID="f0c64cda67349c5ba7dc6ce1de1675f0" ns1:_="" ns2:_="" ns3:_="">
    <xsd:import namespace="http://schemas.microsoft.com/sharepoint/v3"/>
    <xsd:import namespace="a0e9d492-aae1-42ec-9904-4fd688908c79"/>
    <xsd:import namespace="b49ba346-7f5b-4969-9f5f-062fcfc7fe07"/>
    <xsd:element name="properties">
      <xsd:complexType>
        <xsd:sequence>
          <xsd:element name="documentManagement">
            <xsd:complexType>
              <xsd:all>
                <xsd:element ref="ns3:TaxKeywordTaxHTField" minOccurs="0"/>
                <xsd:element ref="ns2:TaxCatchAll" minOccurs="0"/>
                <xsd:element ref="ns2:TaxCatchAllLabel" minOccurs="0"/>
                <xsd:element ref="ns2:Date_x0020_Due" minOccurs="0"/>
                <xsd:element ref="ns1:PublishingStartDate" minOccurs="0"/>
                <xsd:element ref="ns1:PublishingExpirationDate" minOccurs="0"/>
                <xsd:element ref="ns2:SharedWithUsers" minOccurs="0"/>
                <xsd:element ref="ns2:Hide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15" nillable="true" ma:displayName="Scheduling Start Date" ma:description="Scheduling Start Date is a site column created by the Publishing feature. It is used to specify the date and time on which this page will first appear to site visitors." ma:hidden="true" ma:internalName="PublishingStartDate">
      <xsd:simpleType>
        <xsd:restriction base="dms:Unknown"/>
      </xsd:simpleType>
    </xsd:element>
    <xsd:element name="PublishingExpirationDate" ma:index="16" nillable="true" ma:displayName="Scheduling End Date" ma:description="Scheduling End Date is a site column created by the Publishing feature. It is used to specify the date and time on which this page will no longer appear to site visitors." ma:hidden="true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0e9d492-aae1-42ec-9904-4fd688908c79" elementFormDefault="qualified">
    <xsd:import namespace="http://schemas.microsoft.com/office/2006/documentManagement/types"/>
    <xsd:import namespace="http://schemas.microsoft.com/office/infopath/2007/PartnerControls"/>
    <xsd:element name="TaxCatchAll" ma:index="7" nillable="true" ma:displayName="Taxonomy Catch All Column" ma:description="" ma:hidden="true" ma:list="{a4a79f51-32ee-4d2f-b804-3e51363b6775}" ma:internalName="TaxCatchAll" ma:showField="CatchAllData" ma:web="a0e9d492-aae1-42ec-9904-4fd688908c7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1" nillable="true" ma:displayName="Taxonomy Catch All Column1" ma:description="" ma:hidden="true" ma:list="{a4a79f51-32ee-4d2f-b804-3e51363b6775}" ma:internalName="TaxCatchAllLabel" ma:readOnly="true" ma:showField="CatchAllDataLabel" ma:web="a0e9d492-aae1-42ec-9904-4fd688908c7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Date_x0020_Due" ma:index="14" nillable="true" ma:displayName="Date Due" ma:format="DateTime" ma:internalName="Date_x0020_Due">
      <xsd:simpleType>
        <xsd:restriction base="dms:DateTime"/>
      </xsd:simpleType>
    </xsd:element>
    <xsd:element name="SharedWithUsers" ma:index="17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HideMe" ma:index="18" nillable="true" ma:displayName="HideMe" ma:default="0" ma:description="Check yes to hide this item or document on the search results page." ma:internalName="HideM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49ba346-7f5b-4969-9f5f-062fcfc7fe07" elementFormDefault="qualified">
    <xsd:import namespace="http://schemas.microsoft.com/office/2006/documentManagement/types"/>
    <xsd:import namespace="http://schemas.microsoft.com/office/infopath/2007/PartnerControls"/>
    <xsd:element name="TaxKeywordTaxHTField" ma:index="6" nillable="true" ma:taxonomy="true" ma:internalName="TaxKeywordTaxHTField" ma:taxonomyFieldName="TaxKeyword" ma:displayName="Enterprise Keywords" ma:fieldId="{23f27201-bee3-471e-b2e7-b64fd8b7ca38}" ma:taxonomyMulti="true" ma:sspId="a454a14f-8e8a-49c8-9ea4-facf985401e3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4" ma:displayName="Content Type"/>
        <xsd:element ref="dc:title" minOccurs="0" maxOccurs="1" ma:index="3" ma:displayName="Title"/>
        <xsd:element ref="dc:subject" minOccurs="0" maxOccurs="1"/>
        <xsd:element ref="dc:description" minOccurs="0" maxOccurs="1" ma:index="12" ma:displayName="Comments"/>
        <xsd:element name="keywords" minOccurs="0" maxOccurs="1" type="xsd:string" ma:index="13" ma:displayName="Keywords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A059D0D-D1C8-42F1-AD61-866A9457C87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D49F46F-A98E-42BE-8BCE-641943ED0AF7}">
  <ds:schemaRefs>
    <ds:schemaRef ds:uri="http://schemas.microsoft.com/office/infopath/2007/PartnerControls"/>
    <ds:schemaRef ds:uri="http://purl.org/dc/dcmitype/"/>
    <ds:schemaRef ds:uri="http://purl.org/dc/elements/1.1/"/>
    <ds:schemaRef ds:uri="http://www.w3.org/XML/1998/namespace"/>
    <ds:schemaRef ds:uri="http://schemas.microsoft.com/sharepoint/v3"/>
    <ds:schemaRef ds:uri="http://schemas.microsoft.com/office/2006/documentManagement/types"/>
    <ds:schemaRef ds:uri="358ffdc4-ddff-4a1a-b3e3-43baa810e0b1"/>
    <ds:schemaRef ds:uri="http://schemas.microsoft.com/office/2006/metadata/properties"/>
    <ds:schemaRef ds:uri="http://schemas.openxmlformats.org/package/2006/metadata/core-properties"/>
    <ds:schemaRef ds:uri="2c41a6d8-f380-4b25-8266-40fd55739ea6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D1743324-DEA7-420C-B2F9-FC484C40B6FC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2085</TotalTime>
  <Words>509</Words>
  <Application>Microsoft Office PowerPoint</Application>
  <PresentationFormat>Widescreen</PresentationFormat>
  <Paragraphs>67</Paragraphs>
  <Slides>12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2" baseType="lpstr">
      <vt:lpstr>Arial</vt:lpstr>
      <vt:lpstr>Arial Bold</vt:lpstr>
      <vt:lpstr>Arial,Sans-Serif</vt:lpstr>
      <vt:lpstr>Calibri</vt:lpstr>
      <vt:lpstr>LucidaGrande</vt:lpstr>
      <vt:lpstr>Trebuchet MS</vt:lpstr>
      <vt:lpstr>1_Default Design</vt:lpstr>
      <vt:lpstr>Custom Design</vt:lpstr>
      <vt:lpstr>Master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hoenix EV Ad Hoc Public, Workplace and Home Charging </vt:lpstr>
      <vt:lpstr>Distribution Planning: Electric Vehicles</vt:lpstr>
      <vt:lpstr>Distribution Planning: Electric Vehicles </vt:lpstr>
      <vt:lpstr>Distribution Planning: Electric Vehicles </vt:lpstr>
      <vt:lpstr>Customer Construction Services </vt:lpstr>
      <vt:lpstr>PowerPoint Presentation</vt:lpstr>
    </vt:vector>
  </TitlesOfParts>
  <Company>City of Vancouver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reeenst City and Financial Tools</dc:title>
  <dc:creator>cctsd</dc:creator>
  <cp:lastModifiedBy>Karen J Apple</cp:lastModifiedBy>
  <cp:revision>1326</cp:revision>
  <cp:lastPrinted>2021-10-01T15:52:36Z</cp:lastPrinted>
  <dcterms:created xsi:type="dcterms:W3CDTF">2008-03-26T19:27:13Z</dcterms:created>
  <dcterms:modified xsi:type="dcterms:W3CDTF">2022-02-17T15:38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C8251BA06842D4EAB9D9C84F4C2F6A2</vt:lpwstr>
  </property>
</Properties>
</file>